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lb" ContentType="model/gltf.binary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9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4"/>
    <p:sldMasterId id="2147483781" r:id="rId5"/>
    <p:sldMasterId id="2147483794" r:id="rId6"/>
    <p:sldMasterId id="2147483817" r:id="rId7"/>
  </p:sldMasterIdLst>
  <p:notesMasterIdLst>
    <p:notesMasterId r:id="rId27"/>
  </p:notesMasterIdLst>
  <p:handoutMasterIdLst>
    <p:handoutMasterId r:id="rId28"/>
  </p:handoutMasterIdLst>
  <p:sldIdLst>
    <p:sldId id="341" r:id="rId8"/>
    <p:sldId id="121803914" r:id="rId9"/>
    <p:sldId id="121803943" r:id="rId10"/>
    <p:sldId id="121803915" r:id="rId11"/>
    <p:sldId id="121803918" r:id="rId12"/>
    <p:sldId id="121803924" r:id="rId13"/>
    <p:sldId id="121803976" r:id="rId14"/>
    <p:sldId id="121803977" r:id="rId15"/>
    <p:sldId id="121803944" r:id="rId16"/>
    <p:sldId id="121803997" r:id="rId17"/>
    <p:sldId id="121803952" r:id="rId18"/>
    <p:sldId id="121803971" r:id="rId19"/>
    <p:sldId id="121803988" r:id="rId20"/>
    <p:sldId id="121803948" r:id="rId21"/>
    <p:sldId id="121803984" r:id="rId22"/>
    <p:sldId id="121803995" r:id="rId23"/>
    <p:sldId id="121803996" r:id="rId24"/>
    <p:sldId id="121803991" r:id="rId25"/>
    <p:sldId id="121803933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3936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913" userDrawn="1">
          <p15:clr>
            <a:srgbClr val="A4A3A4"/>
          </p15:clr>
        </p15:guide>
        <p15:guide id="9" orient="horz" pos="255" userDrawn="1">
          <p15:clr>
            <a:srgbClr val="A4A3A4"/>
          </p15:clr>
        </p15:guide>
        <p15:guide id="10" pos="257" userDrawn="1">
          <p15:clr>
            <a:srgbClr val="A4A3A4"/>
          </p15:clr>
        </p15:guide>
        <p15:guide id="11" orient="horz" pos="14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9673"/>
    <a:srgbClr val="86BBC1"/>
    <a:srgbClr val="FFDE0F"/>
    <a:srgbClr val="00D8B4"/>
    <a:srgbClr val="0045FF"/>
    <a:srgbClr val="656E76"/>
    <a:srgbClr val="00BEFF"/>
    <a:srgbClr val="001689"/>
    <a:srgbClr val="7F00FF"/>
    <a:srgbClr val="B21D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607" autoAdjust="0"/>
    <p:restoredTop sz="84000" autoAdjust="0"/>
  </p:normalViewPr>
  <p:slideViewPr>
    <p:cSldViewPr snapToGrid="0" showGuides="1">
      <p:cViewPr varScale="1">
        <p:scale>
          <a:sx n="93" d="100"/>
          <a:sy n="93" d="100"/>
        </p:scale>
        <p:origin x="1032" y="208"/>
      </p:cViewPr>
      <p:guideLst>
        <p:guide orient="horz" pos="3936"/>
        <p:guide pos="7423"/>
        <p:guide orient="horz" pos="913"/>
        <p:guide orient="horz" pos="255"/>
        <p:guide pos="257"/>
        <p:guide orient="horz" pos="14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96" d="100"/>
          <a:sy n="96" d="100"/>
        </p:scale>
        <p:origin x="3688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758DC0-4523-5B4C-8915-0E35F620D126}" type="doc">
      <dgm:prSet loTypeId="urn:microsoft.com/office/officeart/2005/8/layout/lProcess3" loCatId="" qsTypeId="urn:microsoft.com/office/officeart/2005/8/quickstyle/simple5" qsCatId="simple" csTypeId="urn:microsoft.com/office/officeart/2005/8/colors/accent6_2" csCatId="accent6" phldr="1"/>
      <dgm:spPr/>
      <dgm:t>
        <a:bodyPr/>
        <a:lstStyle/>
        <a:p>
          <a:endParaRPr lang="cs-CZ"/>
        </a:p>
      </dgm:t>
    </dgm:pt>
    <dgm:pt modelId="{1038BBAC-52CE-224F-8F86-C781A43A8782}">
      <dgm:prSet phldrT="[Text]"/>
      <dgm:spPr/>
      <dgm:t>
        <a:bodyPr/>
        <a:lstStyle/>
        <a:p>
          <a:r>
            <a:rPr lang="cs-CZ" dirty="0"/>
            <a:t>IVDD - certifikace po 25.5.2017</a:t>
          </a:r>
        </a:p>
      </dgm:t>
    </dgm:pt>
    <dgm:pt modelId="{6BA0870C-9F72-B04C-8414-AA301C20FE05}" type="parTrans" cxnId="{0EEE7085-6A80-0649-9247-846D119FF106}">
      <dgm:prSet/>
      <dgm:spPr/>
      <dgm:t>
        <a:bodyPr/>
        <a:lstStyle/>
        <a:p>
          <a:endParaRPr lang="cs-CZ"/>
        </a:p>
      </dgm:t>
    </dgm:pt>
    <dgm:pt modelId="{34405738-727C-B94A-98C1-D047F9263270}" type="sibTrans" cxnId="{0EEE7085-6A80-0649-9247-846D119FF106}">
      <dgm:prSet/>
      <dgm:spPr/>
      <dgm:t>
        <a:bodyPr/>
        <a:lstStyle/>
        <a:p>
          <a:endParaRPr lang="cs-CZ"/>
        </a:p>
      </dgm:t>
    </dgm:pt>
    <dgm:pt modelId="{91377898-82AC-B04C-BFD1-0DA04DCD83A4}">
      <dgm:prSet phldrT="[Text]"/>
      <dgm:spPr/>
      <dgm:t>
        <a:bodyPr/>
        <a:lstStyle/>
        <a:p>
          <a:r>
            <a:rPr lang="cs-CZ" dirty="0"/>
            <a:t>Certifikát stále platný k </a:t>
          </a:r>
          <a:r>
            <a:rPr lang="cs-CZ" b="1" dirty="0"/>
            <a:t>26.5.2022</a:t>
          </a:r>
        </a:p>
      </dgm:t>
    </dgm:pt>
    <dgm:pt modelId="{9ED4F0F0-82D9-7C49-8EDF-60A13E54F7BA}" type="parTrans" cxnId="{E2113052-57FD-5F4C-B014-A006E4389EE6}">
      <dgm:prSet/>
      <dgm:spPr/>
      <dgm:t>
        <a:bodyPr/>
        <a:lstStyle/>
        <a:p>
          <a:endParaRPr lang="cs-CZ"/>
        </a:p>
      </dgm:t>
    </dgm:pt>
    <dgm:pt modelId="{1542EC00-0B3E-7C48-8FD0-1D5FE8B6E04C}" type="sibTrans" cxnId="{E2113052-57FD-5F4C-B014-A006E4389EE6}">
      <dgm:prSet/>
      <dgm:spPr/>
      <dgm:t>
        <a:bodyPr/>
        <a:lstStyle/>
        <a:p>
          <a:endParaRPr lang="cs-CZ"/>
        </a:p>
      </dgm:t>
    </dgm:pt>
    <dgm:pt modelId="{63364EC8-9396-0F45-86D2-57CFE69152E6}">
      <dgm:prSet phldrT="[Text]"/>
      <dgm:spPr/>
      <dgm:t>
        <a:bodyPr/>
        <a:lstStyle/>
        <a:p>
          <a:r>
            <a:rPr lang="cs-CZ" dirty="0"/>
            <a:t>IVDD - certifikace po 25.5.2017</a:t>
          </a:r>
        </a:p>
      </dgm:t>
    </dgm:pt>
    <dgm:pt modelId="{000BA0F5-CB9C-3E46-9078-0258E9D058E9}" type="parTrans" cxnId="{1C3E9366-437D-294E-88AC-878D66127EC4}">
      <dgm:prSet/>
      <dgm:spPr/>
      <dgm:t>
        <a:bodyPr/>
        <a:lstStyle/>
        <a:p>
          <a:endParaRPr lang="cs-CZ"/>
        </a:p>
      </dgm:t>
    </dgm:pt>
    <dgm:pt modelId="{AFF17AB4-835C-324F-B7E6-2F6F53CE2F94}" type="sibTrans" cxnId="{1C3E9366-437D-294E-88AC-878D66127EC4}">
      <dgm:prSet/>
      <dgm:spPr/>
      <dgm:t>
        <a:bodyPr/>
        <a:lstStyle/>
        <a:p>
          <a:endParaRPr lang="cs-CZ"/>
        </a:p>
      </dgm:t>
    </dgm:pt>
    <dgm:pt modelId="{036AFA30-4432-B248-A45F-CDFF46C35462}">
      <dgm:prSet phldrT="[Text]"/>
      <dgm:spPr/>
      <dgm:t>
        <a:bodyPr/>
        <a:lstStyle/>
        <a:p>
          <a:r>
            <a:rPr lang="cs-CZ" dirty="0"/>
            <a:t>Skončila platnost </a:t>
          </a:r>
          <a:r>
            <a:rPr lang="cs-CZ" b="1" dirty="0"/>
            <a:t>před</a:t>
          </a:r>
          <a:r>
            <a:rPr lang="cs-CZ" dirty="0"/>
            <a:t> </a:t>
          </a:r>
          <a:r>
            <a:rPr lang="cs-CZ" b="1" dirty="0"/>
            <a:t>9.7.2024</a:t>
          </a:r>
          <a:endParaRPr lang="cs-CZ" dirty="0"/>
        </a:p>
      </dgm:t>
    </dgm:pt>
    <dgm:pt modelId="{CE1CC1D9-28ED-0B4D-832B-3E2CE53EE947}" type="parTrans" cxnId="{BF2437A0-407F-6740-A2F2-ADB8E4C9FB6D}">
      <dgm:prSet/>
      <dgm:spPr/>
      <dgm:t>
        <a:bodyPr/>
        <a:lstStyle/>
        <a:p>
          <a:endParaRPr lang="cs-CZ"/>
        </a:p>
      </dgm:t>
    </dgm:pt>
    <dgm:pt modelId="{8947DB81-13CB-1847-AF8F-B2BDC2346EDD}" type="sibTrans" cxnId="{BF2437A0-407F-6740-A2F2-ADB8E4C9FB6D}">
      <dgm:prSet/>
      <dgm:spPr/>
      <dgm:t>
        <a:bodyPr/>
        <a:lstStyle/>
        <a:p>
          <a:endParaRPr lang="cs-CZ"/>
        </a:p>
      </dgm:t>
    </dgm:pt>
    <dgm:pt modelId="{0DD0FD04-AE4C-7048-88C5-508A0B7AB843}">
      <dgm:prSet/>
      <dgm:spPr/>
      <dgm:t>
        <a:bodyPr/>
        <a:lstStyle/>
        <a:p>
          <a:r>
            <a:rPr lang="cs-CZ" b="1" dirty="0"/>
            <a:t>Dodávání</a:t>
          </a:r>
          <a:r>
            <a:rPr lang="cs-CZ" dirty="0"/>
            <a:t> na trh bez omezení</a:t>
          </a:r>
        </a:p>
      </dgm:t>
    </dgm:pt>
    <dgm:pt modelId="{2896244A-E327-884A-A84A-57DDE1D7A80E}" type="parTrans" cxnId="{E673A3EC-595D-C44E-B83C-E4FD2A2AFC40}">
      <dgm:prSet/>
      <dgm:spPr/>
      <dgm:t>
        <a:bodyPr/>
        <a:lstStyle/>
        <a:p>
          <a:endParaRPr lang="cs-CZ"/>
        </a:p>
      </dgm:t>
    </dgm:pt>
    <dgm:pt modelId="{10B2B655-C5E1-9C40-9B0C-9FBD1B114130}" type="sibTrans" cxnId="{E673A3EC-595D-C44E-B83C-E4FD2A2AFC40}">
      <dgm:prSet/>
      <dgm:spPr/>
      <dgm:t>
        <a:bodyPr/>
        <a:lstStyle/>
        <a:p>
          <a:endParaRPr lang="cs-CZ"/>
        </a:p>
      </dgm:t>
    </dgm:pt>
    <dgm:pt modelId="{29EF0AAE-54FA-A749-B054-41BC7D595F88}">
      <dgm:prSet/>
      <dgm:spPr>
        <a:solidFill>
          <a:srgbClr val="86BBC1">
            <a:alpha val="90000"/>
          </a:srgbClr>
        </a:solidFill>
      </dgm:spPr>
      <dgm:t>
        <a:bodyPr/>
        <a:lstStyle/>
        <a:p>
          <a:r>
            <a:rPr lang="cs-CZ" b="1" dirty="0"/>
            <a:t>Před 9.7.2024 byla podepsána smlouva s NB / výjimka</a:t>
          </a:r>
        </a:p>
      </dgm:t>
    </dgm:pt>
    <dgm:pt modelId="{9E14EA4F-9C92-C849-B225-C51E7B2185BD}" type="parTrans" cxnId="{3DAA4E57-B0C4-AC48-BA01-C1662D0B22AC}">
      <dgm:prSet/>
      <dgm:spPr/>
      <dgm:t>
        <a:bodyPr/>
        <a:lstStyle/>
        <a:p>
          <a:endParaRPr lang="cs-CZ"/>
        </a:p>
      </dgm:t>
    </dgm:pt>
    <dgm:pt modelId="{4653EB8D-95FD-7949-973D-508F00CF7981}" type="sibTrans" cxnId="{3DAA4E57-B0C4-AC48-BA01-C1662D0B22AC}">
      <dgm:prSet/>
      <dgm:spPr/>
      <dgm:t>
        <a:bodyPr/>
        <a:lstStyle/>
        <a:p>
          <a:endParaRPr lang="cs-CZ"/>
        </a:p>
      </dgm:t>
    </dgm:pt>
    <dgm:pt modelId="{0DAC9410-76B3-644D-B8A7-97D2269B99CC}">
      <dgm:prSet/>
      <dgm:spPr/>
      <dgm:t>
        <a:bodyPr/>
        <a:lstStyle/>
        <a:p>
          <a:r>
            <a:rPr lang="cs-CZ" dirty="0"/>
            <a:t>Možnost </a:t>
          </a:r>
          <a:r>
            <a:rPr lang="cs-CZ" b="1" dirty="0"/>
            <a:t>uvádět na trh </a:t>
          </a:r>
          <a:r>
            <a:rPr lang="cs-CZ" dirty="0"/>
            <a:t>až do </a:t>
          </a:r>
          <a:r>
            <a:rPr lang="cs-CZ" b="1" dirty="0"/>
            <a:t>31.12.2027</a:t>
          </a:r>
        </a:p>
      </dgm:t>
    </dgm:pt>
    <dgm:pt modelId="{D48D30DF-5414-FE40-B74A-D180DA56DEEE}" type="parTrans" cxnId="{33CC73D0-3533-9E4A-9CC9-01EA4BD61791}">
      <dgm:prSet/>
      <dgm:spPr/>
      <dgm:t>
        <a:bodyPr/>
        <a:lstStyle/>
        <a:p>
          <a:endParaRPr lang="cs-CZ"/>
        </a:p>
      </dgm:t>
    </dgm:pt>
    <dgm:pt modelId="{42878465-B1BE-B840-904B-110D9EC8B504}" type="sibTrans" cxnId="{33CC73D0-3533-9E4A-9CC9-01EA4BD61791}">
      <dgm:prSet/>
      <dgm:spPr/>
      <dgm:t>
        <a:bodyPr/>
        <a:lstStyle/>
        <a:p>
          <a:endParaRPr lang="cs-CZ"/>
        </a:p>
      </dgm:t>
    </dgm:pt>
    <dgm:pt modelId="{FCFAFE01-D7F4-C84C-A4A1-F6D752053038}">
      <dgm:prSet/>
      <dgm:spPr/>
      <dgm:t>
        <a:bodyPr/>
        <a:lstStyle/>
        <a:p>
          <a:r>
            <a:rPr lang="cs-CZ" dirty="0"/>
            <a:t>Certifikát stále platný k </a:t>
          </a:r>
          <a:r>
            <a:rPr lang="cs-CZ" b="1" dirty="0"/>
            <a:t>26.5.2022</a:t>
          </a:r>
        </a:p>
      </dgm:t>
    </dgm:pt>
    <dgm:pt modelId="{05AA2646-D76E-C249-B916-D164903ECABC}" type="parTrans" cxnId="{15F12A8C-A4BD-8944-9656-116308D67881}">
      <dgm:prSet/>
      <dgm:spPr/>
      <dgm:t>
        <a:bodyPr/>
        <a:lstStyle/>
        <a:p>
          <a:endParaRPr lang="cs-CZ"/>
        </a:p>
      </dgm:t>
    </dgm:pt>
    <dgm:pt modelId="{93080F04-20AA-7240-B429-77F44C2939EC}" type="sibTrans" cxnId="{15F12A8C-A4BD-8944-9656-116308D67881}">
      <dgm:prSet/>
      <dgm:spPr/>
      <dgm:t>
        <a:bodyPr/>
        <a:lstStyle/>
        <a:p>
          <a:endParaRPr lang="cs-CZ"/>
        </a:p>
      </dgm:t>
    </dgm:pt>
    <dgm:pt modelId="{84B02464-455D-754E-A30D-4C4BE27F7633}">
      <dgm:prSet/>
      <dgm:spPr/>
      <dgm:t>
        <a:bodyPr/>
        <a:lstStyle/>
        <a:p>
          <a:r>
            <a:rPr lang="cs-CZ" b="0" dirty="0"/>
            <a:t>Certifikát platný až do </a:t>
          </a:r>
          <a:r>
            <a:rPr lang="cs-CZ" b="1" dirty="0"/>
            <a:t>31.12.2027</a:t>
          </a:r>
        </a:p>
      </dgm:t>
    </dgm:pt>
    <dgm:pt modelId="{6449C0C8-3172-7844-BBEC-5DAA05251DAD}" type="parTrans" cxnId="{174B5D7F-A21E-764E-A82E-8D6F44303FAD}">
      <dgm:prSet/>
      <dgm:spPr/>
      <dgm:t>
        <a:bodyPr/>
        <a:lstStyle/>
        <a:p>
          <a:endParaRPr lang="cs-CZ"/>
        </a:p>
      </dgm:t>
    </dgm:pt>
    <dgm:pt modelId="{ACFB677E-ACFA-FB47-A95A-143136969786}" type="sibTrans" cxnId="{174B5D7F-A21E-764E-A82E-8D6F44303FAD}">
      <dgm:prSet/>
      <dgm:spPr/>
      <dgm:t>
        <a:bodyPr/>
        <a:lstStyle/>
        <a:p>
          <a:endParaRPr lang="cs-CZ"/>
        </a:p>
      </dgm:t>
    </dgm:pt>
    <dgm:pt modelId="{9107017F-DEBA-474B-9C2A-A51725E39A47}">
      <dgm:prSet/>
      <dgm:spPr/>
      <dgm:t>
        <a:bodyPr/>
        <a:lstStyle/>
        <a:p>
          <a:r>
            <a:rPr lang="cs-CZ" b="1" dirty="0"/>
            <a:t>Certifikát</a:t>
          </a:r>
          <a:r>
            <a:rPr lang="cs-CZ" b="0" dirty="0"/>
            <a:t> platný</a:t>
          </a:r>
          <a:r>
            <a:rPr lang="cs-CZ" dirty="0"/>
            <a:t> až do </a:t>
          </a:r>
          <a:r>
            <a:rPr lang="cs-CZ" b="1" dirty="0"/>
            <a:t>31.12.2027</a:t>
          </a:r>
        </a:p>
      </dgm:t>
    </dgm:pt>
    <dgm:pt modelId="{114603D9-7DE5-FB44-B19E-49B3E0650B9B}" type="parTrans" cxnId="{1C2CCDCD-7EEB-D64C-84C3-B36966F5C0EA}">
      <dgm:prSet/>
      <dgm:spPr/>
      <dgm:t>
        <a:bodyPr/>
        <a:lstStyle/>
        <a:p>
          <a:endParaRPr lang="cs-CZ"/>
        </a:p>
      </dgm:t>
    </dgm:pt>
    <dgm:pt modelId="{CCB9207C-117C-A149-92BE-717C4AE4094F}" type="sibTrans" cxnId="{1C2CCDCD-7EEB-D64C-84C3-B36966F5C0EA}">
      <dgm:prSet/>
      <dgm:spPr/>
      <dgm:t>
        <a:bodyPr/>
        <a:lstStyle/>
        <a:p>
          <a:endParaRPr lang="cs-CZ"/>
        </a:p>
      </dgm:t>
    </dgm:pt>
    <dgm:pt modelId="{4DF2824F-FDE2-8145-8A67-014E0D7A4645}">
      <dgm:prSet/>
      <dgm:spPr/>
      <dgm:t>
        <a:bodyPr/>
        <a:lstStyle/>
        <a:p>
          <a:r>
            <a:rPr lang="cs-CZ" dirty="0"/>
            <a:t>Možnost </a:t>
          </a:r>
          <a:r>
            <a:rPr lang="cs-CZ" b="1" dirty="0"/>
            <a:t>uvádět na trh </a:t>
          </a:r>
          <a:r>
            <a:rPr lang="cs-CZ" dirty="0"/>
            <a:t>až do </a:t>
          </a:r>
          <a:r>
            <a:rPr lang="cs-CZ" b="1" dirty="0"/>
            <a:t>31.12.2027</a:t>
          </a:r>
        </a:p>
      </dgm:t>
    </dgm:pt>
    <dgm:pt modelId="{A85C156C-DDF4-B44A-BF67-AB62CF6190A2}" type="parTrans" cxnId="{7CFA8FEB-FCEA-E643-A8D8-764E0EAF5A83}">
      <dgm:prSet/>
      <dgm:spPr/>
      <dgm:t>
        <a:bodyPr/>
        <a:lstStyle/>
        <a:p>
          <a:endParaRPr lang="cs-CZ"/>
        </a:p>
      </dgm:t>
    </dgm:pt>
    <dgm:pt modelId="{AF3B962F-C6FD-5A48-9094-5ADFAAB8D4D8}" type="sibTrans" cxnId="{7CFA8FEB-FCEA-E643-A8D8-764E0EAF5A83}">
      <dgm:prSet/>
      <dgm:spPr/>
      <dgm:t>
        <a:bodyPr/>
        <a:lstStyle/>
        <a:p>
          <a:endParaRPr lang="cs-CZ"/>
        </a:p>
      </dgm:t>
    </dgm:pt>
    <dgm:pt modelId="{ADFB7246-2F2D-7449-B859-00F532840D13}">
      <dgm:prSet/>
      <dgm:spPr/>
      <dgm:t>
        <a:bodyPr/>
        <a:lstStyle/>
        <a:p>
          <a:r>
            <a:rPr lang="cs-CZ" b="1" dirty="0"/>
            <a:t>Dodávání</a:t>
          </a:r>
          <a:r>
            <a:rPr lang="cs-CZ" dirty="0"/>
            <a:t> na trh bez omezení</a:t>
          </a:r>
          <a:endParaRPr lang="cs-CZ" b="0" dirty="0"/>
        </a:p>
      </dgm:t>
    </dgm:pt>
    <dgm:pt modelId="{68AE27DD-74DB-E348-A52D-A4E6945DEE3C}" type="parTrans" cxnId="{3EBD840F-E13A-F54F-AF72-5214A0DA9995}">
      <dgm:prSet/>
      <dgm:spPr/>
      <dgm:t>
        <a:bodyPr/>
        <a:lstStyle/>
        <a:p>
          <a:endParaRPr lang="cs-CZ"/>
        </a:p>
      </dgm:t>
    </dgm:pt>
    <dgm:pt modelId="{D55F1AEC-5E88-8645-83BF-AB629E518FB5}" type="sibTrans" cxnId="{3EBD840F-E13A-F54F-AF72-5214A0DA9995}">
      <dgm:prSet/>
      <dgm:spPr/>
      <dgm:t>
        <a:bodyPr/>
        <a:lstStyle/>
        <a:p>
          <a:endParaRPr lang="cs-CZ"/>
        </a:p>
      </dgm:t>
    </dgm:pt>
    <dgm:pt modelId="{5A0BEFC0-A937-3042-AD94-967B56BA1428}">
      <dgm:prSet phldrT="[Text]"/>
      <dgm:spPr/>
      <dgm:t>
        <a:bodyPr/>
        <a:lstStyle/>
        <a:p>
          <a:r>
            <a:rPr lang="cs-CZ" dirty="0"/>
            <a:t>Certifikát stále platný k </a:t>
          </a:r>
          <a:r>
            <a:rPr lang="cs-CZ" b="1" dirty="0"/>
            <a:t>9.7.2024</a:t>
          </a:r>
        </a:p>
      </dgm:t>
    </dgm:pt>
    <dgm:pt modelId="{DB5F9B80-0D6F-F743-9F83-A4A7CC296FB6}" type="parTrans" cxnId="{8B1B0604-705C-CC4B-AE6C-C7A29572A127}">
      <dgm:prSet/>
      <dgm:spPr/>
      <dgm:t>
        <a:bodyPr/>
        <a:lstStyle/>
        <a:p>
          <a:endParaRPr lang="cs-CZ"/>
        </a:p>
      </dgm:t>
    </dgm:pt>
    <dgm:pt modelId="{36ECD29A-300F-8743-A7E6-6D245115840F}" type="sibTrans" cxnId="{8B1B0604-705C-CC4B-AE6C-C7A29572A127}">
      <dgm:prSet/>
      <dgm:spPr/>
      <dgm:t>
        <a:bodyPr/>
        <a:lstStyle/>
        <a:p>
          <a:endParaRPr lang="cs-CZ"/>
        </a:p>
      </dgm:t>
    </dgm:pt>
    <dgm:pt modelId="{1C0276C3-810D-F246-B6E0-D126D16C4AC8}" type="pres">
      <dgm:prSet presAssocID="{76758DC0-4523-5B4C-8915-0E35F620D126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EDED7006-D5B7-AB47-AD84-E2D2370A43AE}" type="pres">
      <dgm:prSet presAssocID="{1038BBAC-52CE-224F-8F86-C781A43A8782}" presName="horFlow" presStyleCnt="0"/>
      <dgm:spPr/>
    </dgm:pt>
    <dgm:pt modelId="{8347FA5A-225E-3541-9946-FD3613CBE841}" type="pres">
      <dgm:prSet presAssocID="{1038BBAC-52CE-224F-8F86-C781A43A8782}" presName="bigChev" presStyleLbl="node1" presStyleIdx="0" presStyleCnt="2"/>
      <dgm:spPr/>
    </dgm:pt>
    <dgm:pt modelId="{42E45128-4E12-0541-B8FE-17D4D140FFFB}" type="pres">
      <dgm:prSet presAssocID="{9ED4F0F0-82D9-7C49-8EDF-60A13E54F7BA}" presName="parTrans" presStyleCnt="0"/>
      <dgm:spPr/>
    </dgm:pt>
    <dgm:pt modelId="{E009512A-0E20-DE41-8DC1-E9A4D33232F7}" type="pres">
      <dgm:prSet presAssocID="{91377898-82AC-B04C-BFD1-0DA04DCD83A4}" presName="node" presStyleLbl="alignAccFollowNode1" presStyleIdx="0" presStyleCnt="11" custScaleY="135633">
        <dgm:presLayoutVars>
          <dgm:bulletEnabled val="1"/>
        </dgm:presLayoutVars>
      </dgm:prSet>
      <dgm:spPr/>
    </dgm:pt>
    <dgm:pt modelId="{94471B60-C3C0-E643-BC89-F6405267716A}" type="pres">
      <dgm:prSet presAssocID="{1542EC00-0B3E-7C48-8FD0-1D5FE8B6E04C}" presName="sibTrans" presStyleCnt="0"/>
      <dgm:spPr/>
    </dgm:pt>
    <dgm:pt modelId="{92245CAD-6BE1-F145-90CE-58E09B3A7C5C}" type="pres">
      <dgm:prSet presAssocID="{5A0BEFC0-A937-3042-AD94-967B56BA1428}" presName="node" presStyleLbl="alignAccFollowNode1" presStyleIdx="1" presStyleCnt="11" custScaleY="135633">
        <dgm:presLayoutVars>
          <dgm:bulletEnabled val="1"/>
        </dgm:presLayoutVars>
      </dgm:prSet>
      <dgm:spPr/>
    </dgm:pt>
    <dgm:pt modelId="{F408975E-B9ED-D541-895C-527D667B11C0}" type="pres">
      <dgm:prSet presAssocID="{36ECD29A-300F-8743-A7E6-6D245115840F}" presName="sibTrans" presStyleCnt="0"/>
      <dgm:spPr/>
    </dgm:pt>
    <dgm:pt modelId="{31C6CA75-2E56-CB4A-BEDE-66AE21FA3271}" type="pres">
      <dgm:prSet presAssocID="{9107017F-DEBA-474B-9C2A-A51725E39A47}" presName="node" presStyleLbl="alignAccFollowNode1" presStyleIdx="2" presStyleCnt="11" custScaleY="135633">
        <dgm:presLayoutVars>
          <dgm:bulletEnabled val="1"/>
        </dgm:presLayoutVars>
      </dgm:prSet>
      <dgm:spPr/>
    </dgm:pt>
    <dgm:pt modelId="{9886B6C1-9FD2-6C4D-B545-E7B0A865BC80}" type="pres">
      <dgm:prSet presAssocID="{CCB9207C-117C-A149-92BE-717C4AE4094F}" presName="sibTrans" presStyleCnt="0"/>
      <dgm:spPr/>
    </dgm:pt>
    <dgm:pt modelId="{2D19C7E7-4D69-8E48-B8DC-8685A92B0813}" type="pres">
      <dgm:prSet presAssocID="{0DAC9410-76B3-644D-B8A7-97D2269B99CC}" presName="node" presStyleLbl="alignAccFollowNode1" presStyleIdx="3" presStyleCnt="11" custScaleY="135633">
        <dgm:presLayoutVars>
          <dgm:bulletEnabled val="1"/>
        </dgm:presLayoutVars>
      </dgm:prSet>
      <dgm:spPr/>
    </dgm:pt>
    <dgm:pt modelId="{8289E07C-F8CE-BC44-8E21-B5183E0476DC}" type="pres">
      <dgm:prSet presAssocID="{42878465-B1BE-B840-904B-110D9EC8B504}" presName="sibTrans" presStyleCnt="0"/>
      <dgm:spPr/>
    </dgm:pt>
    <dgm:pt modelId="{CA2DF1E5-9594-3E44-9458-889AA54961FA}" type="pres">
      <dgm:prSet presAssocID="{0DD0FD04-AE4C-7048-88C5-508A0B7AB843}" presName="node" presStyleLbl="alignAccFollowNode1" presStyleIdx="4" presStyleCnt="11" custScaleY="135633">
        <dgm:presLayoutVars>
          <dgm:bulletEnabled val="1"/>
        </dgm:presLayoutVars>
      </dgm:prSet>
      <dgm:spPr/>
    </dgm:pt>
    <dgm:pt modelId="{B954CBE8-B233-524B-9DE7-E2EB885AE80C}" type="pres">
      <dgm:prSet presAssocID="{1038BBAC-52CE-224F-8F86-C781A43A8782}" presName="vSp" presStyleCnt="0"/>
      <dgm:spPr/>
    </dgm:pt>
    <dgm:pt modelId="{8DAA9397-1785-C04B-8EF2-19513314B5BF}" type="pres">
      <dgm:prSet presAssocID="{63364EC8-9396-0F45-86D2-57CFE69152E6}" presName="horFlow" presStyleCnt="0"/>
      <dgm:spPr/>
    </dgm:pt>
    <dgm:pt modelId="{155D0863-76B0-6A44-8BA1-02ECFF605923}" type="pres">
      <dgm:prSet presAssocID="{63364EC8-9396-0F45-86D2-57CFE69152E6}" presName="bigChev" presStyleLbl="node1" presStyleIdx="1" presStyleCnt="2" custLinFactNeighborX="-7310" custLinFactNeighborY="356"/>
      <dgm:spPr/>
    </dgm:pt>
    <dgm:pt modelId="{9D4268E8-462D-924F-8D81-9B9A2D77D61B}" type="pres">
      <dgm:prSet presAssocID="{05AA2646-D76E-C249-B916-D164903ECABC}" presName="parTrans" presStyleCnt="0"/>
      <dgm:spPr/>
    </dgm:pt>
    <dgm:pt modelId="{BA7C26B8-896F-664A-B4DB-0557AAF0290D}" type="pres">
      <dgm:prSet presAssocID="{FCFAFE01-D7F4-C84C-A4A1-F6D752053038}" presName="node" presStyleLbl="alignAccFollowNode1" presStyleIdx="5" presStyleCnt="11" custScaleY="137349">
        <dgm:presLayoutVars>
          <dgm:bulletEnabled val="1"/>
        </dgm:presLayoutVars>
      </dgm:prSet>
      <dgm:spPr/>
    </dgm:pt>
    <dgm:pt modelId="{AE931519-B6A4-A04B-83C3-2E443A477407}" type="pres">
      <dgm:prSet presAssocID="{93080F04-20AA-7240-B429-77F44C2939EC}" presName="sibTrans" presStyleCnt="0"/>
      <dgm:spPr/>
    </dgm:pt>
    <dgm:pt modelId="{C2383467-E79B-F548-9D05-CC68D70E61FC}" type="pres">
      <dgm:prSet presAssocID="{036AFA30-4432-B248-A45F-CDFF46C35462}" presName="node" presStyleLbl="alignAccFollowNode1" presStyleIdx="6" presStyleCnt="11" custScaleX="111941" custScaleY="137349">
        <dgm:presLayoutVars>
          <dgm:bulletEnabled val="1"/>
        </dgm:presLayoutVars>
      </dgm:prSet>
      <dgm:spPr/>
    </dgm:pt>
    <dgm:pt modelId="{D3B74689-B683-644A-8F94-B945F771FA80}" type="pres">
      <dgm:prSet presAssocID="{8947DB81-13CB-1847-AF8F-B2BDC2346EDD}" presName="sibTrans" presStyleCnt="0"/>
      <dgm:spPr/>
    </dgm:pt>
    <dgm:pt modelId="{941E7ACC-0274-1246-8ADC-FECD6A74B1A3}" type="pres">
      <dgm:prSet presAssocID="{29EF0AAE-54FA-A749-B054-41BC7D595F88}" presName="node" presStyleLbl="alignAccFollowNode1" presStyleIdx="7" presStyleCnt="11" custScaleX="114632" custScaleY="137349">
        <dgm:presLayoutVars>
          <dgm:bulletEnabled val="1"/>
        </dgm:presLayoutVars>
      </dgm:prSet>
      <dgm:spPr/>
    </dgm:pt>
    <dgm:pt modelId="{BFEC88B5-F27E-1743-B67E-5B40B22C4B38}" type="pres">
      <dgm:prSet presAssocID="{4653EB8D-95FD-7949-973D-508F00CF7981}" presName="sibTrans" presStyleCnt="0"/>
      <dgm:spPr/>
    </dgm:pt>
    <dgm:pt modelId="{2861DEB4-359A-E642-849D-49D697708991}" type="pres">
      <dgm:prSet presAssocID="{84B02464-455D-754E-A30D-4C4BE27F7633}" presName="node" presStyleLbl="alignAccFollowNode1" presStyleIdx="8" presStyleCnt="11" custScaleY="137349">
        <dgm:presLayoutVars>
          <dgm:bulletEnabled val="1"/>
        </dgm:presLayoutVars>
      </dgm:prSet>
      <dgm:spPr/>
    </dgm:pt>
    <dgm:pt modelId="{06938516-B7CF-264C-8C20-C56913995110}" type="pres">
      <dgm:prSet presAssocID="{ACFB677E-ACFA-FB47-A95A-143136969786}" presName="sibTrans" presStyleCnt="0"/>
      <dgm:spPr/>
    </dgm:pt>
    <dgm:pt modelId="{995E15BE-F87F-9244-8116-19710AB81D14}" type="pres">
      <dgm:prSet presAssocID="{4DF2824F-FDE2-8145-8A67-014E0D7A4645}" presName="node" presStyleLbl="alignAccFollowNode1" presStyleIdx="9" presStyleCnt="11" custScaleY="137349">
        <dgm:presLayoutVars>
          <dgm:bulletEnabled val="1"/>
        </dgm:presLayoutVars>
      </dgm:prSet>
      <dgm:spPr/>
    </dgm:pt>
    <dgm:pt modelId="{D4BF864B-32E9-924A-9929-A3032D465972}" type="pres">
      <dgm:prSet presAssocID="{AF3B962F-C6FD-5A48-9094-5ADFAAB8D4D8}" presName="sibTrans" presStyleCnt="0"/>
      <dgm:spPr/>
    </dgm:pt>
    <dgm:pt modelId="{E9B1C419-BBD2-3C43-B386-DCB359E1CC36}" type="pres">
      <dgm:prSet presAssocID="{ADFB7246-2F2D-7449-B859-00F532840D13}" presName="node" presStyleLbl="alignAccFollowNode1" presStyleIdx="10" presStyleCnt="11" custScaleY="137349">
        <dgm:presLayoutVars>
          <dgm:bulletEnabled val="1"/>
        </dgm:presLayoutVars>
      </dgm:prSet>
      <dgm:spPr/>
    </dgm:pt>
  </dgm:ptLst>
  <dgm:cxnLst>
    <dgm:cxn modelId="{30F55F00-B8CB-B246-A1A2-293C05499D12}" type="presOf" srcId="{4DF2824F-FDE2-8145-8A67-014E0D7A4645}" destId="{995E15BE-F87F-9244-8116-19710AB81D14}" srcOrd="0" destOrd="0" presId="urn:microsoft.com/office/officeart/2005/8/layout/lProcess3"/>
    <dgm:cxn modelId="{EEC19503-42B2-2949-A1FB-68E32030B903}" type="presOf" srcId="{FCFAFE01-D7F4-C84C-A4A1-F6D752053038}" destId="{BA7C26B8-896F-664A-B4DB-0557AAF0290D}" srcOrd="0" destOrd="0" presId="urn:microsoft.com/office/officeart/2005/8/layout/lProcess3"/>
    <dgm:cxn modelId="{8B1B0604-705C-CC4B-AE6C-C7A29572A127}" srcId="{1038BBAC-52CE-224F-8F86-C781A43A8782}" destId="{5A0BEFC0-A937-3042-AD94-967B56BA1428}" srcOrd="1" destOrd="0" parTransId="{DB5F9B80-0D6F-F743-9F83-A4A7CC296FB6}" sibTransId="{36ECD29A-300F-8743-A7E6-6D245115840F}"/>
    <dgm:cxn modelId="{3EBD840F-E13A-F54F-AF72-5214A0DA9995}" srcId="{63364EC8-9396-0F45-86D2-57CFE69152E6}" destId="{ADFB7246-2F2D-7449-B859-00F532840D13}" srcOrd="5" destOrd="0" parTransId="{68AE27DD-74DB-E348-A52D-A4E6945DEE3C}" sibTransId="{D55F1AEC-5E88-8645-83BF-AB629E518FB5}"/>
    <dgm:cxn modelId="{5FA4C61B-4B4A-3148-A1BB-06CB64AEA232}" type="presOf" srcId="{9107017F-DEBA-474B-9C2A-A51725E39A47}" destId="{31C6CA75-2E56-CB4A-BEDE-66AE21FA3271}" srcOrd="0" destOrd="0" presId="urn:microsoft.com/office/officeart/2005/8/layout/lProcess3"/>
    <dgm:cxn modelId="{E2113052-57FD-5F4C-B014-A006E4389EE6}" srcId="{1038BBAC-52CE-224F-8F86-C781A43A8782}" destId="{91377898-82AC-B04C-BFD1-0DA04DCD83A4}" srcOrd="0" destOrd="0" parTransId="{9ED4F0F0-82D9-7C49-8EDF-60A13E54F7BA}" sibTransId="{1542EC00-0B3E-7C48-8FD0-1D5FE8B6E04C}"/>
    <dgm:cxn modelId="{3DAA4E57-B0C4-AC48-BA01-C1662D0B22AC}" srcId="{63364EC8-9396-0F45-86D2-57CFE69152E6}" destId="{29EF0AAE-54FA-A749-B054-41BC7D595F88}" srcOrd="2" destOrd="0" parTransId="{9E14EA4F-9C92-C849-B225-C51E7B2185BD}" sibTransId="{4653EB8D-95FD-7949-973D-508F00CF7981}"/>
    <dgm:cxn modelId="{98725262-53E5-7240-842F-4F1746D55F04}" type="presOf" srcId="{5A0BEFC0-A937-3042-AD94-967B56BA1428}" destId="{92245CAD-6BE1-F145-90CE-58E09B3A7C5C}" srcOrd="0" destOrd="0" presId="urn:microsoft.com/office/officeart/2005/8/layout/lProcess3"/>
    <dgm:cxn modelId="{1C3E9366-437D-294E-88AC-878D66127EC4}" srcId="{76758DC0-4523-5B4C-8915-0E35F620D126}" destId="{63364EC8-9396-0F45-86D2-57CFE69152E6}" srcOrd="1" destOrd="0" parTransId="{000BA0F5-CB9C-3E46-9078-0258E9D058E9}" sibTransId="{AFF17AB4-835C-324F-B7E6-2F6F53CE2F94}"/>
    <dgm:cxn modelId="{3B4AC870-AFE9-304E-ABD0-520FF3CB8E30}" type="presOf" srcId="{91377898-82AC-B04C-BFD1-0DA04DCD83A4}" destId="{E009512A-0E20-DE41-8DC1-E9A4D33232F7}" srcOrd="0" destOrd="0" presId="urn:microsoft.com/office/officeart/2005/8/layout/lProcess3"/>
    <dgm:cxn modelId="{E3759B73-450C-EE46-9BA7-695D71DFA82E}" type="presOf" srcId="{76758DC0-4523-5B4C-8915-0E35F620D126}" destId="{1C0276C3-810D-F246-B6E0-D126D16C4AC8}" srcOrd="0" destOrd="0" presId="urn:microsoft.com/office/officeart/2005/8/layout/lProcess3"/>
    <dgm:cxn modelId="{174B5D7F-A21E-764E-A82E-8D6F44303FAD}" srcId="{63364EC8-9396-0F45-86D2-57CFE69152E6}" destId="{84B02464-455D-754E-A30D-4C4BE27F7633}" srcOrd="3" destOrd="0" parTransId="{6449C0C8-3172-7844-BBEC-5DAA05251DAD}" sibTransId="{ACFB677E-ACFA-FB47-A95A-143136969786}"/>
    <dgm:cxn modelId="{0EEE7085-6A80-0649-9247-846D119FF106}" srcId="{76758DC0-4523-5B4C-8915-0E35F620D126}" destId="{1038BBAC-52CE-224F-8F86-C781A43A8782}" srcOrd="0" destOrd="0" parTransId="{6BA0870C-9F72-B04C-8414-AA301C20FE05}" sibTransId="{34405738-727C-B94A-98C1-D047F9263270}"/>
    <dgm:cxn modelId="{15F12A8C-A4BD-8944-9656-116308D67881}" srcId="{63364EC8-9396-0F45-86D2-57CFE69152E6}" destId="{FCFAFE01-D7F4-C84C-A4A1-F6D752053038}" srcOrd="0" destOrd="0" parTransId="{05AA2646-D76E-C249-B916-D164903ECABC}" sibTransId="{93080F04-20AA-7240-B429-77F44C2939EC}"/>
    <dgm:cxn modelId="{5AC3C18E-02AB-5745-9886-3571C39FFA18}" type="presOf" srcId="{63364EC8-9396-0F45-86D2-57CFE69152E6}" destId="{155D0863-76B0-6A44-8BA1-02ECFF605923}" srcOrd="0" destOrd="0" presId="urn:microsoft.com/office/officeart/2005/8/layout/lProcess3"/>
    <dgm:cxn modelId="{1C90C691-5A85-5547-9E63-720F167A5FB5}" type="presOf" srcId="{84B02464-455D-754E-A30D-4C4BE27F7633}" destId="{2861DEB4-359A-E642-849D-49D697708991}" srcOrd="0" destOrd="0" presId="urn:microsoft.com/office/officeart/2005/8/layout/lProcess3"/>
    <dgm:cxn modelId="{5BE27B9A-4150-1947-B125-AB7110552905}" type="presOf" srcId="{036AFA30-4432-B248-A45F-CDFF46C35462}" destId="{C2383467-E79B-F548-9D05-CC68D70E61FC}" srcOrd="0" destOrd="0" presId="urn:microsoft.com/office/officeart/2005/8/layout/lProcess3"/>
    <dgm:cxn modelId="{CD28119E-27D2-B44E-8172-A1C9A0CBF58F}" type="presOf" srcId="{1038BBAC-52CE-224F-8F86-C781A43A8782}" destId="{8347FA5A-225E-3541-9946-FD3613CBE841}" srcOrd="0" destOrd="0" presId="urn:microsoft.com/office/officeart/2005/8/layout/lProcess3"/>
    <dgm:cxn modelId="{BF2437A0-407F-6740-A2F2-ADB8E4C9FB6D}" srcId="{63364EC8-9396-0F45-86D2-57CFE69152E6}" destId="{036AFA30-4432-B248-A45F-CDFF46C35462}" srcOrd="1" destOrd="0" parTransId="{CE1CC1D9-28ED-0B4D-832B-3E2CE53EE947}" sibTransId="{8947DB81-13CB-1847-AF8F-B2BDC2346EDD}"/>
    <dgm:cxn modelId="{F51969A6-FD9F-6341-970B-A9BE692036CC}" type="presOf" srcId="{0DD0FD04-AE4C-7048-88C5-508A0B7AB843}" destId="{CA2DF1E5-9594-3E44-9458-889AA54961FA}" srcOrd="0" destOrd="0" presId="urn:microsoft.com/office/officeart/2005/8/layout/lProcess3"/>
    <dgm:cxn modelId="{3F7DA0BF-7ACF-004B-B161-8D4706903FFB}" type="presOf" srcId="{0DAC9410-76B3-644D-B8A7-97D2269B99CC}" destId="{2D19C7E7-4D69-8E48-B8DC-8685A92B0813}" srcOrd="0" destOrd="0" presId="urn:microsoft.com/office/officeart/2005/8/layout/lProcess3"/>
    <dgm:cxn modelId="{D5BE2BCA-8148-634C-B011-3E1B7DD6AAEC}" type="presOf" srcId="{ADFB7246-2F2D-7449-B859-00F532840D13}" destId="{E9B1C419-BBD2-3C43-B386-DCB359E1CC36}" srcOrd="0" destOrd="0" presId="urn:microsoft.com/office/officeart/2005/8/layout/lProcess3"/>
    <dgm:cxn modelId="{1C2CCDCD-7EEB-D64C-84C3-B36966F5C0EA}" srcId="{1038BBAC-52CE-224F-8F86-C781A43A8782}" destId="{9107017F-DEBA-474B-9C2A-A51725E39A47}" srcOrd="2" destOrd="0" parTransId="{114603D9-7DE5-FB44-B19E-49B3E0650B9B}" sibTransId="{CCB9207C-117C-A149-92BE-717C4AE4094F}"/>
    <dgm:cxn modelId="{33CC73D0-3533-9E4A-9CC9-01EA4BD61791}" srcId="{1038BBAC-52CE-224F-8F86-C781A43A8782}" destId="{0DAC9410-76B3-644D-B8A7-97D2269B99CC}" srcOrd="3" destOrd="0" parTransId="{D48D30DF-5414-FE40-B74A-D180DA56DEEE}" sibTransId="{42878465-B1BE-B840-904B-110D9EC8B504}"/>
    <dgm:cxn modelId="{7CFA8FEB-FCEA-E643-A8D8-764E0EAF5A83}" srcId="{63364EC8-9396-0F45-86D2-57CFE69152E6}" destId="{4DF2824F-FDE2-8145-8A67-014E0D7A4645}" srcOrd="4" destOrd="0" parTransId="{A85C156C-DDF4-B44A-BF67-AB62CF6190A2}" sibTransId="{AF3B962F-C6FD-5A48-9094-5ADFAAB8D4D8}"/>
    <dgm:cxn modelId="{E673A3EC-595D-C44E-B83C-E4FD2A2AFC40}" srcId="{1038BBAC-52CE-224F-8F86-C781A43A8782}" destId="{0DD0FD04-AE4C-7048-88C5-508A0B7AB843}" srcOrd="4" destOrd="0" parTransId="{2896244A-E327-884A-A84A-57DDE1D7A80E}" sibTransId="{10B2B655-C5E1-9C40-9B0C-9FBD1B114130}"/>
    <dgm:cxn modelId="{06CD99FD-6423-4744-8108-4DDBB0558A20}" type="presOf" srcId="{29EF0AAE-54FA-A749-B054-41BC7D595F88}" destId="{941E7ACC-0274-1246-8ADC-FECD6A74B1A3}" srcOrd="0" destOrd="0" presId="urn:microsoft.com/office/officeart/2005/8/layout/lProcess3"/>
    <dgm:cxn modelId="{18902751-76ED-AF45-BD71-82631078953C}" type="presParOf" srcId="{1C0276C3-810D-F246-B6E0-D126D16C4AC8}" destId="{EDED7006-D5B7-AB47-AD84-E2D2370A43AE}" srcOrd="0" destOrd="0" presId="urn:microsoft.com/office/officeart/2005/8/layout/lProcess3"/>
    <dgm:cxn modelId="{519F66C9-1800-A941-ACF1-2A01380B6ECB}" type="presParOf" srcId="{EDED7006-D5B7-AB47-AD84-E2D2370A43AE}" destId="{8347FA5A-225E-3541-9946-FD3613CBE841}" srcOrd="0" destOrd="0" presId="urn:microsoft.com/office/officeart/2005/8/layout/lProcess3"/>
    <dgm:cxn modelId="{08951CD6-48B8-6344-8CA5-3D98A5333A1C}" type="presParOf" srcId="{EDED7006-D5B7-AB47-AD84-E2D2370A43AE}" destId="{42E45128-4E12-0541-B8FE-17D4D140FFFB}" srcOrd="1" destOrd="0" presId="urn:microsoft.com/office/officeart/2005/8/layout/lProcess3"/>
    <dgm:cxn modelId="{1F5A9496-A399-A147-B493-131F69137302}" type="presParOf" srcId="{EDED7006-D5B7-AB47-AD84-E2D2370A43AE}" destId="{E009512A-0E20-DE41-8DC1-E9A4D33232F7}" srcOrd="2" destOrd="0" presId="urn:microsoft.com/office/officeart/2005/8/layout/lProcess3"/>
    <dgm:cxn modelId="{0D6998C4-652F-C24E-B340-0F48E9FC55C2}" type="presParOf" srcId="{EDED7006-D5B7-AB47-AD84-E2D2370A43AE}" destId="{94471B60-C3C0-E643-BC89-F6405267716A}" srcOrd="3" destOrd="0" presId="urn:microsoft.com/office/officeart/2005/8/layout/lProcess3"/>
    <dgm:cxn modelId="{33F9074A-55F8-B54F-92D3-E2CC674A957C}" type="presParOf" srcId="{EDED7006-D5B7-AB47-AD84-E2D2370A43AE}" destId="{92245CAD-6BE1-F145-90CE-58E09B3A7C5C}" srcOrd="4" destOrd="0" presId="urn:microsoft.com/office/officeart/2005/8/layout/lProcess3"/>
    <dgm:cxn modelId="{85C21C98-A75D-3F43-A8E9-8D66A5D7EA62}" type="presParOf" srcId="{EDED7006-D5B7-AB47-AD84-E2D2370A43AE}" destId="{F408975E-B9ED-D541-895C-527D667B11C0}" srcOrd="5" destOrd="0" presId="urn:microsoft.com/office/officeart/2005/8/layout/lProcess3"/>
    <dgm:cxn modelId="{1F5AC5FC-B4CB-8C45-90E7-57C206A0D90E}" type="presParOf" srcId="{EDED7006-D5B7-AB47-AD84-E2D2370A43AE}" destId="{31C6CA75-2E56-CB4A-BEDE-66AE21FA3271}" srcOrd="6" destOrd="0" presId="urn:microsoft.com/office/officeart/2005/8/layout/lProcess3"/>
    <dgm:cxn modelId="{ADA49451-784B-2C49-A3F2-5FFA05892A4F}" type="presParOf" srcId="{EDED7006-D5B7-AB47-AD84-E2D2370A43AE}" destId="{9886B6C1-9FD2-6C4D-B545-E7B0A865BC80}" srcOrd="7" destOrd="0" presId="urn:microsoft.com/office/officeart/2005/8/layout/lProcess3"/>
    <dgm:cxn modelId="{0A82410B-92EE-BF44-80E0-277D5A1AA60E}" type="presParOf" srcId="{EDED7006-D5B7-AB47-AD84-E2D2370A43AE}" destId="{2D19C7E7-4D69-8E48-B8DC-8685A92B0813}" srcOrd="8" destOrd="0" presId="urn:microsoft.com/office/officeart/2005/8/layout/lProcess3"/>
    <dgm:cxn modelId="{8EDD3762-735E-834E-862C-00C792ABD26C}" type="presParOf" srcId="{EDED7006-D5B7-AB47-AD84-E2D2370A43AE}" destId="{8289E07C-F8CE-BC44-8E21-B5183E0476DC}" srcOrd="9" destOrd="0" presId="urn:microsoft.com/office/officeart/2005/8/layout/lProcess3"/>
    <dgm:cxn modelId="{38E55D2B-9D3C-3A48-B6AC-F04FA2AE5C9A}" type="presParOf" srcId="{EDED7006-D5B7-AB47-AD84-E2D2370A43AE}" destId="{CA2DF1E5-9594-3E44-9458-889AA54961FA}" srcOrd="10" destOrd="0" presId="urn:microsoft.com/office/officeart/2005/8/layout/lProcess3"/>
    <dgm:cxn modelId="{D3BB319D-2BBA-DB46-A0F3-80A9E61B9D95}" type="presParOf" srcId="{1C0276C3-810D-F246-B6E0-D126D16C4AC8}" destId="{B954CBE8-B233-524B-9DE7-E2EB885AE80C}" srcOrd="1" destOrd="0" presId="urn:microsoft.com/office/officeart/2005/8/layout/lProcess3"/>
    <dgm:cxn modelId="{DACB62C1-FB38-0A43-AD0F-2BE04BCF0D1D}" type="presParOf" srcId="{1C0276C3-810D-F246-B6E0-D126D16C4AC8}" destId="{8DAA9397-1785-C04B-8EF2-19513314B5BF}" srcOrd="2" destOrd="0" presId="urn:microsoft.com/office/officeart/2005/8/layout/lProcess3"/>
    <dgm:cxn modelId="{DBDB0C09-44B0-FC4B-8AFA-F2B5F9A877DF}" type="presParOf" srcId="{8DAA9397-1785-C04B-8EF2-19513314B5BF}" destId="{155D0863-76B0-6A44-8BA1-02ECFF605923}" srcOrd="0" destOrd="0" presId="urn:microsoft.com/office/officeart/2005/8/layout/lProcess3"/>
    <dgm:cxn modelId="{266101D8-0211-F146-91B7-26078C9CF352}" type="presParOf" srcId="{8DAA9397-1785-C04B-8EF2-19513314B5BF}" destId="{9D4268E8-462D-924F-8D81-9B9A2D77D61B}" srcOrd="1" destOrd="0" presId="urn:microsoft.com/office/officeart/2005/8/layout/lProcess3"/>
    <dgm:cxn modelId="{8D39774A-AB4D-DE49-99DF-D0053575CCB2}" type="presParOf" srcId="{8DAA9397-1785-C04B-8EF2-19513314B5BF}" destId="{BA7C26B8-896F-664A-B4DB-0557AAF0290D}" srcOrd="2" destOrd="0" presId="urn:microsoft.com/office/officeart/2005/8/layout/lProcess3"/>
    <dgm:cxn modelId="{BDBCF304-7D09-D04A-ABCF-3FA6E52A629C}" type="presParOf" srcId="{8DAA9397-1785-C04B-8EF2-19513314B5BF}" destId="{AE931519-B6A4-A04B-83C3-2E443A477407}" srcOrd="3" destOrd="0" presId="urn:microsoft.com/office/officeart/2005/8/layout/lProcess3"/>
    <dgm:cxn modelId="{9DD9B52C-0EF0-9F4A-BF29-E58C1ECB7A8D}" type="presParOf" srcId="{8DAA9397-1785-C04B-8EF2-19513314B5BF}" destId="{C2383467-E79B-F548-9D05-CC68D70E61FC}" srcOrd="4" destOrd="0" presId="urn:microsoft.com/office/officeart/2005/8/layout/lProcess3"/>
    <dgm:cxn modelId="{275EB732-0C30-234D-B178-5617A363B6B9}" type="presParOf" srcId="{8DAA9397-1785-C04B-8EF2-19513314B5BF}" destId="{D3B74689-B683-644A-8F94-B945F771FA80}" srcOrd="5" destOrd="0" presId="urn:microsoft.com/office/officeart/2005/8/layout/lProcess3"/>
    <dgm:cxn modelId="{33B81DEA-A414-9D4D-B9CC-9020DA310543}" type="presParOf" srcId="{8DAA9397-1785-C04B-8EF2-19513314B5BF}" destId="{941E7ACC-0274-1246-8ADC-FECD6A74B1A3}" srcOrd="6" destOrd="0" presId="urn:microsoft.com/office/officeart/2005/8/layout/lProcess3"/>
    <dgm:cxn modelId="{8A975DF4-FEB0-3F46-9695-5F2385BD92CF}" type="presParOf" srcId="{8DAA9397-1785-C04B-8EF2-19513314B5BF}" destId="{BFEC88B5-F27E-1743-B67E-5B40B22C4B38}" srcOrd="7" destOrd="0" presId="urn:microsoft.com/office/officeart/2005/8/layout/lProcess3"/>
    <dgm:cxn modelId="{78CB3DFD-C880-F246-9DA0-160BB7DB3C8E}" type="presParOf" srcId="{8DAA9397-1785-C04B-8EF2-19513314B5BF}" destId="{2861DEB4-359A-E642-849D-49D697708991}" srcOrd="8" destOrd="0" presId="urn:microsoft.com/office/officeart/2005/8/layout/lProcess3"/>
    <dgm:cxn modelId="{DB5EDB0B-FBF3-BB44-AE2F-78C64581DA40}" type="presParOf" srcId="{8DAA9397-1785-C04B-8EF2-19513314B5BF}" destId="{06938516-B7CF-264C-8C20-C56913995110}" srcOrd="9" destOrd="0" presId="urn:microsoft.com/office/officeart/2005/8/layout/lProcess3"/>
    <dgm:cxn modelId="{9AD24A13-7CA7-2645-8F96-F73DCE92091D}" type="presParOf" srcId="{8DAA9397-1785-C04B-8EF2-19513314B5BF}" destId="{995E15BE-F87F-9244-8116-19710AB81D14}" srcOrd="10" destOrd="0" presId="urn:microsoft.com/office/officeart/2005/8/layout/lProcess3"/>
    <dgm:cxn modelId="{4DA02905-9769-344B-8649-60062E7DCE23}" type="presParOf" srcId="{8DAA9397-1785-C04B-8EF2-19513314B5BF}" destId="{D4BF864B-32E9-924A-9929-A3032D465972}" srcOrd="11" destOrd="0" presId="urn:microsoft.com/office/officeart/2005/8/layout/lProcess3"/>
    <dgm:cxn modelId="{A9CC9750-404C-4F43-9B87-BFA537F4071D}" type="presParOf" srcId="{8DAA9397-1785-C04B-8EF2-19513314B5BF}" destId="{E9B1C419-BBD2-3C43-B386-DCB359E1CC36}" srcOrd="12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47FA5A-225E-3541-9946-FD3613CBE841}">
      <dsp:nvSpPr>
        <dsp:cNvPr id="0" name=""/>
        <dsp:cNvSpPr/>
      </dsp:nvSpPr>
      <dsp:spPr>
        <a:xfrm>
          <a:off x="1142" y="2446891"/>
          <a:ext cx="2153750" cy="861500"/>
        </a:xfrm>
        <a:prstGeom prst="chevron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/>
            <a:t>IVDD - certifikace po 25.5.2017</a:t>
          </a:r>
        </a:p>
      </dsp:txBody>
      <dsp:txXfrm>
        <a:off x="431892" y="2446891"/>
        <a:ext cx="1292250" cy="861500"/>
      </dsp:txXfrm>
    </dsp:sp>
    <dsp:sp modelId="{E009512A-0E20-DE41-8DC1-E9A4D33232F7}">
      <dsp:nvSpPr>
        <dsp:cNvPr id="0" name=""/>
        <dsp:cNvSpPr/>
      </dsp:nvSpPr>
      <dsp:spPr>
        <a:xfrm>
          <a:off x="1874905" y="2392722"/>
          <a:ext cx="1787613" cy="96983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Certifikát stále platný k </a:t>
          </a:r>
          <a:r>
            <a:rPr lang="cs-CZ" sz="1300" b="1" kern="1200" dirty="0"/>
            <a:t>26.5.2022</a:t>
          </a:r>
        </a:p>
      </dsp:txBody>
      <dsp:txXfrm>
        <a:off x="2359824" y="2392722"/>
        <a:ext cx="817776" cy="969837"/>
      </dsp:txXfrm>
    </dsp:sp>
    <dsp:sp modelId="{92245CAD-6BE1-F145-90CE-58E09B3A7C5C}">
      <dsp:nvSpPr>
        <dsp:cNvPr id="0" name=""/>
        <dsp:cNvSpPr/>
      </dsp:nvSpPr>
      <dsp:spPr>
        <a:xfrm>
          <a:off x="3412252" y="2392722"/>
          <a:ext cx="1787613" cy="96983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Certifikát stále platný k </a:t>
          </a:r>
          <a:r>
            <a:rPr lang="cs-CZ" sz="1300" b="1" kern="1200" dirty="0"/>
            <a:t>9.7.2024</a:t>
          </a:r>
        </a:p>
      </dsp:txBody>
      <dsp:txXfrm>
        <a:off x="3897171" y="2392722"/>
        <a:ext cx="817776" cy="969837"/>
      </dsp:txXfrm>
    </dsp:sp>
    <dsp:sp modelId="{31C6CA75-2E56-CB4A-BEDE-66AE21FA3271}">
      <dsp:nvSpPr>
        <dsp:cNvPr id="0" name=""/>
        <dsp:cNvSpPr/>
      </dsp:nvSpPr>
      <dsp:spPr>
        <a:xfrm>
          <a:off x="4949599" y="2392722"/>
          <a:ext cx="1787613" cy="96983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Certifikát</a:t>
          </a:r>
          <a:r>
            <a:rPr lang="cs-CZ" sz="1300" b="0" kern="1200" dirty="0"/>
            <a:t> platný</a:t>
          </a:r>
          <a:r>
            <a:rPr lang="cs-CZ" sz="1300" kern="1200" dirty="0"/>
            <a:t> až do </a:t>
          </a:r>
          <a:r>
            <a:rPr lang="cs-CZ" sz="1300" b="1" kern="1200" dirty="0"/>
            <a:t>31.12.2027</a:t>
          </a:r>
        </a:p>
      </dsp:txBody>
      <dsp:txXfrm>
        <a:off x="5434518" y="2392722"/>
        <a:ext cx="817776" cy="969837"/>
      </dsp:txXfrm>
    </dsp:sp>
    <dsp:sp modelId="{2D19C7E7-4D69-8E48-B8DC-8685A92B0813}">
      <dsp:nvSpPr>
        <dsp:cNvPr id="0" name=""/>
        <dsp:cNvSpPr/>
      </dsp:nvSpPr>
      <dsp:spPr>
        <a:xfrm>
          <a:off x="6486946" y="2392722"/>
          <a:ext cx="1787613" cy="96983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Možnost </a:t>
          </a:r>
          <a:r>
            <a:rPr lang="cs-CZ" sz="1300" b="1" kern="1200" dirty="0"/>
            <a:t>uvádět na trh </a:t>
          </a:r>
          <a:r>
            <a:rPr lang="cs-CZ" sz="1300" kern="1200" dirty="0"/>
            <a:t>až do </a:t>
          </a:r>
          <a:r>
            <a:rPr lang="cs-CZ" sz="1300" b="1" kern="1200" dirty="0"/>
            <a:t>31.12.2027</a:t>
          </a:r>
        </a:p>
      </dsp:txBody>
      <dsp:txXfrm>
        <a:off x="6971865" y="2392722"/>
        <a:ext cx="817776" cy="969837"/>
      </dsp:txXfrm>
    </dsp:sp>
    <dsp:sp modelId="{CA2DF1E5-9594-3E44-9458-889AA54961FA}">
      <dsp:nvSpPr>
        <dsp:cNvPr id="0" name=""/>
        <dsp:cNvSpPr/>
      </dsp:nvSpPr>
      <dsp:spPr>
        <a:xfrm>
          <a:off x="8024294" y="2392722"/>
          <a:ext cx="1787613" cy="96983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Dodávání</a:t>
          </a:r>
          <a:r>
            <a:rPr lang="cs-CZ" sz="1300" kern="1200" dirty="0"/>
            <a:t> na trh bez omezení</a:t>
          </a:r>
        </a:p>
      </dsp:txBody>
      <dsp:txXfrm>
        <a:off x="8509213" y="2392722"/>
        <a:ext cx="817776" cy="969837"/>
      </dsp:txXfrm>
    </dsp:sp>
    <dsp:sp modelId="{155D0863-76B0-6A44-8BA1-02ECFF605923}">
      <dsp:nvSpPr>
        <dsp:cNvPr id="0" name=""/>
        <dsp:cNvSpPr/>
      </dsp:nvSpPr>
      <dsp:spPr>
        <a:xfrm>
          <a:off x="0" y="3546540"/>
          <a:ext cx="2153750" cy="861500"/>
        </a:xfrm>
        <a:prstGeom prst="chevron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/>
            <a:t>IVDD - certifikace po 25.5.2017</a:t>
          </a:r>
        </a:p>
      </dsp:txBody>
      <dsp:txXfrm>
        <a:off x="430750" y="3546540"/>
        <a:ext cx="1292250" cy="861500"/>
      </dsp:txXfrm>
    </dsp:sp>
    <dsp:sp modelId="{BA7C26B8-896F-664A-B4DB-0557AAF0290D}">
      <dsp:nvSpPr>
        <dsp:cNvPr id="0" name=""/>
        <dsp:cNvSpPr/>
      </dsp:nvSpPr>
      <dsp:spPr>
        <a:xfrm>
          <a:off x="1874905" y="3483169"/>
          <a:ext cx="1787613" cy="98210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Certifikát stále platný k </a:t>
          </a:r>
          <a:r>
            <a:rPr lang="cs-CZ" sz="1300" b="1" kern="1200" dirty="0"/>
            <a:t>26.5.2022</a:t>
          </a:r>
        </a:p>
      </dsp:txBody>
      <dsp:txXfrm>
        <a:off x="2365959" y="3483169"/>
        <a:ext cx="805506" cy="982107"/>
      </dsp:txXfrm>
    </dsp:sp>
    <dsp:sp modelId="{C2383467-E79B-F548-9D05-CC68D70E61FC}">
      <dsp:nvSpPr>
        <dsp:cNvPr id="0" name=""/>
        <dsp:cNvSpPr/>
      </dsp:nvSpPr>
      <dsp:spPr>
        <a:xfrm>
          <a:off x="3412252" y="3483169"/>
          <a:ext cx="2001071" cy="98210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Skončila platnost </a:t>
          </a:r>
          <a:r>
            <a:rPr lang="cs-CZ" sz="1300" b="1" kern="1200" dirty="0"/>
            <a:t>před</a:t>
          </a:r>
          <a:r>
            <a:rPr lang="cs-CZ" sz="1300" kern="1200" dirty="0"/>
            <a:t> </a:t>
          </a:r>
          <a:r>
            <a:rPr lang="cs-CZ" sz="1300" b="1" kern="1200" dirty="0"/>
            <a:t>9.7.2024</a:t>
          </a:r>
          <a:endParaRPr lang="cs-CZ" sz="1300" kern="1200" dirty="0"/>
        </a:p>
      </dsp:txBody>
      <dsp:txXfrm>
        <a:off x="3903306" y="3483169"/>
        <a:ext cx="1018964" cy="982107"/>
      </dsp:txXfrm>
    </dsp:sp>
    <dsp:sp modelId="{941E7ACC-0274-1246-8ADC-FECD6A74B1A3}">
      <dsp:nvSpPr>
        <dsp:cNvPr id="0" name=""/>
        <dsp:cNvSpPr/>
      </dsp:nvSpPr>
      <dsp:spPr>
        <a:xfrm>
          <a:off x="5163058" y="3483169"/>
          <a:ext cx="2049176" cy="982107"/>
        </a:xfrm>
        <a:prstGeom prst="chevron">
          <a:avLst/>
        </a:prstGeom>
        <a:solidFill>
          <a:srgbClr val="86BBC1">
            <a:alpha val="90000"/>
          </a:srgb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Před 9.7.2024 byla podepsána smlouva s NB / výjimka</a:t>
          </a:r>
        </a:p>
      </dsp:txBody>
      <dsp:txXfrm>
        <a:off x="5654112" y="3483169"/>
        <a:ext cx="1067069" cy="982107"/>
      </dsp:txXfrm>
    </dsp:sp>
    <dsp:sp modelId="{2861DEB4-359A-E642-849D-49D697708991}">
      <dsp:nvSpPr>
        <dsp:cNvPr id="0" name=""/>
        <dsp:cNvSpPr/>
      </dsp:nvSpPr>
      <dsp:spPr>
        <a:xfrm>
          <a:off x="6961969" y="3483169"/>
          <a:ext cx="1787613" cy="98210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0" kern="1200" dirty="0"/>
            <a:t>Certifikát platný až do </a:t>
          </a:r>
          <a:r>
            <a:rPr lang="cs-CZ" sz="1300" b="1" kern="1200" dirty="0"/>
            <a:t>31.12.2027</a:t>
          </a:r>
        </a:p>
      </dsp:txBody>
      <dsp:txXfrm>
        <a:off x="7453023" y="3483169"/>
        <a:ext cx="805506" cy="982107"/>
      </dsp:txXfrm>
    </dsp:sp>
    <dsp:sp modelId="{995E15BE-F87F-9244-8116-19710AB81D14}">
      <dsp:nvSpPr>
        <dsp:cNvPr id="0" name=""/>
        <dsp:cNvSpPr/>
      </dsp:nvSpPr>
      <dsp:spPr>
        <a:xfrm>
          <a:off x="8499316" y="3483169"/>
          <a:ext cx="1787613" cy="98210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kern="1200" dirty="0"/>
            <a:t>Možnost </a:t>
          </a:r>
          <a:r>
            <a:rPr lang="cs-CZ" sz="1300" b="1" kern="1200" dirty="0"/>
            <a:t>uvádět na trh </a:t>
          </a:r>
          <a:r>
            <a:rPr lang="cs-CZ" sz="1300" kern="1200" dirty="0"/>
            <a:t>až do </a:t>
          </a:r>
          <a:r>
            <a:rPr lang="cs-CZ" sz="1300" b="1" kern="1200" dirty="0"/>
            <a:t>31.12.2027</a:t>
          </a:r>
        </a:p>
      </dsp:txBody>
      <dsp:txXfrm>
        <a:off x="8990370" y="3483169"/>
        <a:ext cx="805506" cy="982107"/>
      </dsp:txXfrm>
    </dsp:sp>
    <dsp:sp modelId="{E9B1C419-BBD2-3C43-B386-DCB359E1CC36}">
      <dsp:nvSpPr>
        <dsp:cNvPr id="0" name=""/>
        <dsp:cNvSpPr/>
      </dsp:nvSpPr>
      <dsp:spPr>
        <a:xfrm>
          <a:off x="10036663" y="3483169"/>
          <a:ext cx="1787613" cy="982107"/>
        </a:xfrm>
        <a:prstGeom prst="chevron">
          <a:avLst/>
        </a:prstGeom>
        <a:solidFill>
          <a:schemeClr val="accent6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6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1" kern="1200" dirty="0"/>
            <a:t>Dodávání</a:t>
          </a:r>
          <a:r>
            <a:rPr lang="cs-CZ" sz="1300" kern="1200" dirty="0"/>
            <a:t> na trh bez omezení</a:t>
          </a:r>
          <a:endParaRPr lang="cs-CZ" sz="1300" b="0" kern="1200" dirty="0"/>
        </a:p>
      </dsp:txBody>
      <dsp:txXfrm>
        <a:off x="10527717" y="3483169"/>
        <a:ext cx="805506" cy="9821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BF59F9B-3B44-4370-9C4C-BA4C3102AA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27BEE7A-2620-4EA7-BB7B-14C0D90691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A7FA8E-4FF7-4B5B-830F-65AC78C46B32}" type="datetimeFigureOut">
              <a:rPr lang="de-DE" smtClean="0"/>
              <a:t>30.09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02969D-6E75-45BC-9779-31A77DA910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5624CA-0FEF-4F20-A9E3-4EB10998429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0B4D6-4DF7-43EF-BD03-9C1F94C67F6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47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FE5BFA-28E9-454A-AE4C-1B802997AD1D}" type="datetimeFigureOut">
              <a:rPr lang="en-US" smtClean="0"/>
              <a:t>9/3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811ED4-C5C8-4573-8EA8-36BB55C2DD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003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health.ec.europa.eu/document/download/bcde7f36-b2fe-4d5f-989a-6daa80538b79_en?filename=mdr_in-vitro-proposal.pdf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847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poznámky 1">
            <a:extLst>
              <a:ext uri="{FF2B5EF4-FFF2-40B4-BE49-F238E27FC236}">
                <a16:creationId xmlns:a16="http://schemas.microsoft.com/office/drawing/2014/main" id="{1BBDAA24-913C-F1E6-EA96-2B76008EA8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b="0" i="0" dirty="0">
                <a:solidFill>
                  <a:srgbClr val="7F8C8D"/>
                </a:solidFill>
                <a:effectLst/>
                <a:latin typeface="Varela"/>
              </a:rPr>
              <a:t>Vývojový modul </a:t>
            </a:r>
            <a:r>
              <a:rPr lang="cs-CZ" b="0" i="0" dirty="0" err="1">
                <a:solidFill>
                  <a:srgbClr val="7F8C8D"/>
                </a:solidFill>
                <a:effectLst/>
                <a:latin typeface="Varela"/>
              </a:rPr>
              <a:t>Clinical</a:t>
            </a:r>
            <a:r>
              <a:rPr lang="cs-CZ" b="0" i="0" dirty="0">
                <a:solidFill>
                  <a:srgbClr val="7F8C8D"/>
                </a:solidFill>
                <a:effectLst/>
                <a:latin typeface="Varela"/>
              </a:rPr>
              <a:t> </a:t>
            </a:r>
            <a:r>
              <a:rPr lang="cs-CZ" b="0" i="0" dirty="0" err="1">
                <a:solidFill>
                  <a:srgbClr val="7F8C8D"/>
                </a:solidFill>
                <a:effectLst/>
                <a:latin typeface="Varela"/>
              </a:rPr>
              <a:t>Investigation</a:t>
            </a:r>
            <a:r>
              <a:rPr lang="cs-CZ" b="0" i="0" dirty="0">
                <a:solidFill>
                  <a:srgbClr val="7F8C8D"/>
                </a:solidFill>
                <a:effectLst/>
                <a:latin typeface="Varela"/>
              </a:rPr>
              <a:t> and Performance Study (CI/PS) se zastavuje a bude restartován ve 2. čtvrtletí 2024 a bude pokračovat až do 3. čtvrtletí 2026, čímž se k projektu v podstatě přidají další dva roky. Toto zpoždění také odsune všechny důležité „plně funkční“ označení EUDAMED. 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6701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trike="sngStrike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883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2593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7481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771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cs-CZ" sz="1200" kern="1200" dirty="0">
              <a:solidFill>
                <a:schemeClr val="tx1"/>
              </a:solidFill>
              <a:latin typeface="Arial" charset="0"/>
              <a:ea typeface="+mn-ea"/>
              <a:cs typeface="+mn-cs"/>
            </a:endParaRP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1ED4-C5C8-4573-8EA8-36BB55C2DD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78464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1455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86796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26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777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576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1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105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1ED4-C5C8-4573-8EA8-36BB55C2DD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8909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105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811ED4-C5C8-4573-8EA8-36BB55C2DD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8272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3569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cs-CZ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V lednu 2024 zveřejnila Evropská komise </a:t>
            </a:r>
            <a:r>
              <a:rPr lang="cs-CZ" b="1" i="0" u="none" strike="noStrike" dirty="0">
                <a:solidFill>
                  <a:srgbClr val="DC1A22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  <a:hlinkClick r:id="rId3"/>
              </a:rPr>
              <a:t>návrh</a:t>
            </a:r>
            <a:r>
              <a:rPr lang="cs-CZ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 na změnu IVDR, který dále prodlužuje přechodná období. Hlavním důvodem je nedostatek oznámených subjektů.</a:t>
            </a:r>
          </a:p>
          <a:p>
            <a:pPr algn="l"/>
            <a:r>
              <a:rPr lang="cs-CZ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Ačkoli to </a:t>
            </a:r>
            <a:r>
              <a:rPr lang="cs-CZ" b="1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nemění</a:t>
            </a:r>
            <a:r>
              <a:rPr lang="cs-CZ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 datum </a:t>
            </a:r>
            <a:r>
              <a:rPr lang="cs-CZ" b="1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oužití</a:t>
            </a:r>
            <a:r>
              <a:rPr lang="cs-CZ" b="0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 IVDR, které zůstává 26. května 2022, </a:t>
            </a:r>
            <a:r>
              <a:rPr lang="cs-CZ" b="1" i="0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prodloužené lhůty dávají výrobcům a notifikovaným orgánům více času na to, aby produkty IVD prošly posouzením shody IVDR a bezpečné a účinné produkty se zbytečně nelikvidují.</a:t>
            </a:r>
            <a:endParaRPr lang="cs-CZ" b="0" i="0" dirty="0">
              <a:solidFill>
                <a:srgbClr val="4D4D4D"/>
              </a:solidFill>
              <a:effectLst/>
              <a:highlight>
                <a:srgbClr val="FFFFFF"/>
              </a:highlight>
              <a:latin typeface="Open Sans" panose="020B0606030504020204" pitchFamily="34" charset="0"/>
            </a:endParaRP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116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811ED4-C5C8-4573-8EA8-36BB55C2DDD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364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0039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0560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3668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1469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190860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Place for chart / graphic / tab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4706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for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0771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8163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2341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2411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4563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3C0D58-735A-412A-8B93-C78F2E77AD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0870" y="993844"/>
            <a:ext cx="4146439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Use this cover design only if the presentation is not intended to be printed out</a:t>
            </a:r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B7B62E1-5216-204B-88A7-3D3EFA34C7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6746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AD37D2E-4A0F-144B-9D47-7A82AD311517}"/>
              </a:ext>
            </a:extLst>
          </p:cNvPr>
          <p:cNvSpPr txBox="1"/>
          <p:nvPr userDrawn="1"/>
        </p:nvSpPr>
        <p:spPr>
          <a:xfrm>
            <a:off x="10925666" y="-301658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0" indent="0" algn="l">
              <a:buClr>
                <a:schemeClr val="tx2"/>
              </a:buClr>
              <a:buFont typeface="Arial" panose="020B0604020202020204" pitchFamily="34" charset="0"/>
              <a:buNone/>
            </a:pPr>
            <a:endParaRPr lang="en-US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5383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562" y="863601"/>
            <a:ext cx="2198981" cy="131257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38849695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ue">
    <p:bg>
      <p:bgPr>
        <a:solidFill>
          <a:srgbClr val="004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9562" y="865276"/>
            <a:ext cx="2198981" cy="130921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7655044-659B-4746-95D9-16BEB3270D33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0DAC319-6721-4323-BFB4-C53FD8909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8381517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7F3004-7EC0-469E-6971-7E80A5D07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33F6648-51A5-4F44-9ED2-45D40BEF5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179158-224A-F1E2-71CB-4EBE83AFB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28AC12C-4777-5823-2B22-3FC3289B9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F346B6F-A943-508E-D86C-1FA18A613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13082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31D374E-609B-F2D8-A66B-5848EA384E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50E3DC3-5564-0D8E-1387-017554238D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4973604-A68D-85C1-CA1B-5226BA3276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42E5AC2-8BFE-F4F3-1C1E-10801FE76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6747A4E-BE3D-CE7A-7855-85106B6DB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828239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7F3004-7EC0-469E-6971-7E80A5D07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33F6648-51A5-4F44-9ED2-45D40BEF5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179158-224A-F1E2-71CB-4EBE83AFB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28AC12C-4777-5823-2B22-3FC3289B9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F346B6F-A943-508E-D86C-1FA18A613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61086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A8DF60B-698B-071A-AEF5-8F2FBD661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1FD142C-7297-242B-2533-C9B39A38E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60EE79C-6401-11E4-B5FE-AF1670178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894D5F9-D4DA-2B4B-1A3D-65B543A16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59623A3-B60A-3EC6-2048-815A0FFE9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399297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DBB8154-6199-C5B2-FFA8-45870CE3C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98238E3-A8D4-F63C-1595-4AF10E09A0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0CB722B0-6394-47BA-132B-B0B98A2C20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5DAB9A4-2F69-364F-B0B8-8FCA203D4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51251180-3B70-3E92-3460-2A19D4E7F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40DDC8F-F865-96C5-D848-B3488E5D0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99736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1F9552-AF77-2F99-7B80-CB4A316CC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2574773-00CC-A044-2801-488F2949E3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B888078-F2B9-64EA-9989-69B8EBCD08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A46BC02-8E1D-4734-86B9-4E22B746F8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C8CE06B7-33E0-9E08-21E3-BFB679AA68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7286CED-1C0B-82EE-AF26-CD339DB363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423E8585-F016-E5E3-372D-10BE7F8D2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2477E82-7856-FE7D-67E9-A8EB17C9C4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406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783B60F-8453-F8E5-3331-269A5D7B0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8E9B8E-6A6A-ED41-916F-0405915785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90771E0-4931-416A-DD1F-3D00BC012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26AAA501-5673-E852-9D53-914B480D0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44919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9005D639-1C75-9B02-0F15-EB55AD304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C543659-C05D-33AC-CF82-C2F91DAEC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BDC3FC6-F4AC-24C4-9BA7-9B2962FA5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0334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1828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CF59A8-036C-A2CE-DB70-CECA7606A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0A7547F-2B1F-C38A-DC44-4DCA625976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BBB8DF4-2FA4-6572-ACD6-042CB704D5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FA89C23-FCBB-F4AD-6FB4-EE6603475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B2540F1-F12D-28F4-04DC-301DC149D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04B1D6D6-280C-985A-F5C3-6DFF681EB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265598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BF5D37-4DA6-4FD1-A1B7-782FC1C41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AC0C738-AEA4-7EE7-2551-38CFFD936F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FF8E136-2AE7-B547-6F49-2E334866A9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3D69D24-EB05-39E5-9338-0337AE317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93FA845-E0F4-EBAB-1D0A-FDF187BD5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32B98D0-5935-7804-E486-89A2DCFE8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252386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05A9A1C-68B9-A844-5BA8-20A3E42DD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15C6A6D-885F-17E7-95D7-AA1984B1BB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B1DC6AC-AD49-DC36-0377-C0C421EF6D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FFBBFA5-F706-C170-B181-055685E3E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37A6407-32F3-B5E4-A358-717FBC1BF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74063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529DD93-BB01-0333-12CA-DE5621D808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A008132-3B19-E6E6-66B7-F7BC2A59FC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D0A2894-AC92-0AEF-9DF6-F85E84BAA3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B111857-B2EE-6A20-3280-36E4A5DC16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2BE634D-6C4B-F81C-F886-33A990F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95280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3" y="1449388"/>
            <a:ext cx="11362063" cy="4799012"/>
          </a:xfrm>
        </p:spPr>
        <p:txBody>
          <a:bodyPr lIns="0" rIns="0">
            <a:noAutofit/>
          </a:bodyPr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0577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603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4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8000" y="5877740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98955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603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4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8000" y="5877740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3C0D58-735A-412A-8B93-C78F2E77AD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0873" y="993844"/>
            <a:ext cx="4146439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Use this cover design only if the presentation is not intended to be printed out</a:t>
            </a:r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B7B62E1-5216-204B-88A7-3D3EFA34C7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6749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AD37D2E-4A0F-144B-9D47-7A82AD311517}"/>
              </a:ext>
            </a:extLst>
          </p:cNvPr>
          <p:cNvSpPr txBox="1"/>
          <p:nvPr userDrawn="1"/>
        </p:nvSpPr>
        <p:spPr>
          <a:xfrm>
            <a:off x="10925667" y="-301658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0" indent="0" algn="l">
              <a:buClr>
                <a:schemeClr val="tx2"/>
              </a:buClr>
              <a:buFont typeface="Arial" panose="020B0604020202020204" pitchFamily="34" charset="0"/>
              <a:buNone/>
            </a:pPr>
            <a:endParaRPr lang="en-US" sz="1800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166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603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6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0344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ACF61BE-5787-1F46-B797-54D1CB3D45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32BB8FC-B5BA-2341-88FE-E44A791A8B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603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3E206001-EE5F-A140-BF41-065ED5F01577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67465649-AC4E-FE47-9F2F-070B574538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6873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78857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0827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ACF61BE-5787-1F46-B797-54D1CB3D45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32BB8FC-B5BA-2341-88FE-E44A791A8B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3E206001-EE5F-A140-BF41-065ED5F01577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67465649-AC4E-FE47-9F2F-070B574538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6870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50494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89774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2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2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4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2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5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2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44" indent="-273044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764" indent="-342891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44" lvl="0" indent="-273044" defTabSz="457189"/>
            <a:r>
              <a:rPr lang="de-DE" dirty="0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33772369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3" y="1449388"/>
            <a:ext cx="11362063" cy="4799012"/>
          </a:xfrm>
        </p:spPr>
        <p:txBody>
          <a:bodyPr lIns="0" rIns="0">
            <a:noAutofit/>
          </a:bodyPr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2347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0237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9" y="1449388"/>
            <a:ext cx="3654000" cy="4799012"/>
          </a:xfrm>
        </p:spPr>
        <p:txBody>
          <a:bodyPr/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69993" indent="-269993">
              <a:buFont typeface="Arial" panose="020B0604020202020204" pitchFamily="34" charset="0"/>
              <a:buChar char="•"/>
              <a:defRPr/>
            </a:lvl1pPr>
            <a:lvl2pPr marL="539987" indent="-269993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79973" indent="-269993">
              <a:buFont typeface="Arial" panose="020B0604020202020204" pitchFamily="34" charset="0"/>
              <a:buChar char="•"/>
              <a:defRPr/>
            </a:lvl4pPr>
            <a:lvl5pPr marL="1349966" indent="-269993">
              <a:buFont typeface="Arial" panose="020B0604020202020204" pitchFamily="34" charset="0"/>
              <a:buChar char="•"/>
              <a:defRPr/>
            </a:lvl5pPr>
            <a:lvl6pPr indent="-269993">
              <a:buFont typeface="Arial" panose="020B0604020202020204" pitchFamily="34" charset="0"/>
              <a:buChar char="•"/>
              <a:defRPr/>
            </a:lvl6pPr>
            <a:lvl7pPr marL="1889953" indent="-269993">
              <a:buFont typeface="Arial" panose="020B0604020202020204" pitchFamily="34" charset="0"/>
              <a:buChar char="•"/>
              <a:defRPr/>
            </a:lvl7pPr>
            <a:lvl8pPr marL="2159946" indent="-269993">
              <a:buFont typeface="Arial" panose="020B0604020202020204" pitchFamily="34" charset="0"/>
              <a:buChar char="•"/>
              <a:defRPr/>
            </a:lvl8pPr>
            <a:lvl9pPr marL="2429939" indent="-269993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6403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4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2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0922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4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4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0169863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4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4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4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4207712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902" y="404817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Place for chart / graphic / tab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6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92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1891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902" y="404816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Place for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6"/>
            <a:ext cx="3672000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92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6258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7479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9" y="1450804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2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97339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9" y="1450804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4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8656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buClr>
                <a:schemeClr val="accent2"/>
              </a:buClr>
              <a:defRPr/>
            </a:lvl1pPr>
            <a:lvl2pPr marL="539987" indent="-269993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79973" indent="-269993">
              <a:buClr>
                <a:schemeClr val="accent2"/>
              </a:buClr>
              <a:defRPr/>
            </a:lvl4pPr>
            <a:lvl5pPr marL="1349966" indent="-269993">
              <a:buClr>
                <a:schemeClr val="accent2"/>
              </a:buClr>
              <a:defRPr/>
            </a:lvl5pPr>
            <a:lvl6pPr indent="-269993">
              <a:buClr>
                <a:schemeClr val="accent2"/>
              </a:buClr>
              <a:defRPr/>
            </a:lvl6pPr>
            <a:lvl7pPr marL="1889953" indent="-269993">
              <a:buClr>
                <a:schemeClr val="accent2"/>
              </a:buClr>
              <a:defRPr/>
            </a:lvl7pPr>
            <a:lvl8pPr marL="2159946" indent="-269993">
              <a:buClr>
                <a:schemeClr val="accent2"/>
              </a:buClr>
              <a:defRPr/>
            </a:lvl8pPr>
            <a:lvl9pPr marL="2429939" indent="-269993">
              <a:buClr>
                <a:schemeClr val="accent2"/>
              </a:buClr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9" y="1450804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4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9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14257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71" y="404816"/>
            <a:ext cx="11362063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92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92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92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9" y="1854616"/>
            <a:ext cx="364799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69993" indent="-269993">
              <a:defRPr/>
            </a:lvl1pPr>
            <a:lvl2pPr marL="539987" indent="-269993">
              <a:defRPr/>
            </a:lvl2pPr>
            <a:lvl4pPr marL="1079973" indent="-269993">
              <a:defRPr/>
            </a:lvl4pPr>
            <a:lvl5pPr marL="1349966" indent="-269993">
              <a:defRPr/>
            </a:lvl5pPr>
            <a:lvl6pPr indent="-269993">
              <a:defRPr/>
            </a:lvl6pPr>
            <a:lvl7pPr marL="1889953" indent="-269993">
              <a:defRPr/>
            </a:lvl7pPr>
            <a:lvl8pPr marL="2159946" indent="-269993">
              <a:defRPr/>
            </a:lvl8pPr>
            <a:lvl9pPr marL="2429939" indent="-269993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00043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564" y="863601"/>
            <a:ext cx="2198981" cy="131257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2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2" y="5583603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18013992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ue">
    <p:bg>
      <p:bgPr>
        <a:solidFill>
          <a:srgbClr val="004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9564" y="865280"/>
            <a:ext cx="2198981" cy="130921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7655044-659B-4746-95D9-16BEB3270D33}"/>
              </a:ext>
            </a:extLst>
          </p:cNvPr>
          <p:cNvSpPr txBox="1"/>
          <p:nvPr userDrawn="1"/>
        </p:nvSpPr>
        <p:spPr>
          <a:xfrm>
            <a:off x="1260002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0DAC319-6721-4323-BFB4-C53FD8909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2" y="5583603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29378665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686EF60F-5748-4EE3-BAB2-50CAD97DC02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F29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3059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re goes the title </a:t>
            </a:r>
            <a:br>
              <a:rPr lang="en-GB" dirty="0"/>
            </a:br>
            <a:r>
              <a:rPr lang="en-GB" dirty="0"/>
              <a:t>of the current presentation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329AE76-8F8C-4240-A576-980EA064E7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07999" y="5583600"/>
            <a:ext cx="3060700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Name Surname / Bold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AB28BF6-6F0E-4F4B-8BBC-80B95CE5B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07998" y="5877736"/>
            <a:ext cx="3060701" cy="2762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600" b="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Event / Date – Calibri 16p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3C0D58-735A-412A-8B93-C78F2E77AD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20870" y="993844"/>
            <a:ext cx="4146439" cy="64560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vert="horz" lIns="576000" tIns="0" rIns="0" bIns="0" rtlCol="0">
            <a:noAutofit/>
          </a:bodyPr>
          <a:lstStyle>
            <a:lvl1pPr marL="0" indent="1588">
              <a:buNone/>
              <a:defRPr lang="de-DE" sz="1400" b="1" dirty="0" smtClean="0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Use this cover design only if the presentation is not intended to be printed out</a:t>
            </a:r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B7B62E1-5216-204B-88A7-3D3EFA34C75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6746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AD37D2E-4A0F-144B-9D47-7A82AD311517}"/>
              </a:ext>
            </a:extLst>
          </p:cNvPr>
          <p:cNvSpPr txBox="1"/>
          <p:nvPr userDrawn="1"/>
        </p:nvSpPr>
        <p:spPr>
          <a:xfrm>
            <a:off x="10925666" y="-301658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0" indent="0" algn="l">
              <a:buClr>
                <a:schemeClr val="tx2"/>
              </a:buClr>
              <a:buFont typeface="Arial" panose="020B0604020202020204" pitchFamily="34" charset="0"/>
              <a:buNone/>
            </a:pPr>
            <a:endParaRPr lang="en-US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46390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A2465B23-2D38-B341-8C2D-4EA58D3A1F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F8AAA2C-65C8-D44E-A1BA-D0ABDC58C5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92C70129-2314-8F4F-9A50-24437E6E99FC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Logo">
            <a:extLst>
              <a:ext uri="{FF2B5EF4-FFF2-40B4-BE49-F238E27FC236}">
                <a16:creationId xmlns:a16="http://schemas.microsoft.com/office/drawing/2014/main" id="{44341A6A-45B3-4597-9AE7-EEEF086FE1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9187" t="91133" r="390" b="589"/>
          <a:stretch/>
        </p:blipFill>
        <p:spPr>
          <a:xfrm>
            <a:off x="10921364" y="6287887"/>
            <a:ext cx="1270636" cy="56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1357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blue">
    <p:bg>
      <p:bgPr>
        <a:gradFill>
          <a:gsLst>
            <a:gs pos="32000">
              <a:srgbClr val="2D9673"/>
            </a:gs>
            <a:gs pos="45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ACF61BE-5787-1F46-B797-54D1CB3D45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60000" y="2599200"/>
            <a:ext cx="7236000" cy="2268000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the chapter</a:t>
            </a:r>
            <a:br>
              <a:rPr lang="en-GB" dirty="0"/>
            </a:br>
            <a:r>
              <a:rPr lang="en-GB" dirty="0"/>
              <a:t>Calibri Bold – 36pt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32BB8FC-B5BA-2341-88FE-E44A791A8B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5724000" cy="6964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  <a:br>
              <a:rPr lang="en-GB" dirty="0"/>
            </a:br>
            <a:r>
              <a:rPr lang="en-GB" dirty="0"/>
              <a:t>Calibri Regular – 20pt</a:t>
            </a:r>
          </a:p>
        </p:txBody>
      </p:sp>
      <p:cxnSp>
        <p:nvCxnSpPr>
          <p:cNvPr id="15" name="Straight Connector 3">
            <a:extLst>
              <a:ext uri="{FF2B5EF4-FFF2-40B4-BE49-F238E27FC236}">
                <a16:creationId xmlns:a16="http://schemas.microsoft.com/office/drawing/2014/main" id="{3E206001-EE5F-A140-BF41-065ED5F01577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rgbClr val="FED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67465649-AC4E-FE47-9F2F-070B574538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6870" y="993844"/>
            <a:ext cx="645607" cy="645606"/>
          </a:xfrm>
          <a:prstGeom prst="ellipse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1588" algn="ctr">
              <a:buNone/>
              <a:defRPr lang="de-DE" sz="3600" b="1" dirty="0" smtClean="0">
                <a:solidFill>
                  <a:schemeClr val="accent3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 lang="de-DE" dirty="0"/>
            </a:lvl5pPr>
          </a:lstStyle>
          <a:p>
            <a:pPr marL="0" lvl="0" indent="1588">
              <a:buNone/>
            </a:pPr>
            <a:r>
              <a:rPr lang="en-US" dirty="0"/>
              <a:t>i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4877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9740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1647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8212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3343287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9846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6861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473286-2C55-4FEA-8359-063521B3B8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61361597-D2A2-47D8-8338-3D43CB6DA4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3458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26527D6-FD0D-4780-9DAA-3AD1134B0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73245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0B79ACA2-2E6B-4772-BF2E-CBB8430641C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3031" y="1449388"/>
            <a:ext cx="3654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149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2125D35-DA0E-4D56-84E2-EB07C329741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113616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73B23CD-383D-429C-A4F3-35DE1E8D4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63F40CD6-A60A-4AC9-A58D-DF274B2BF7F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90938"/>
            <a:ext cx="11361737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80591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B5840-9460-4E1C-ADA0-DB7E309EE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0085161-A724-4216-B471-37354B9260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4000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F4CD61FC-6100-40C2-9D63-709AA8571F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031" y="1890938"/>
            <a:ext cx="5580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EC1603-A908-4F64-90B8-CE9F6B1C99D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4E3D193-471F-4C39-85B2-839408099973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197031" y="1450800"/>
            <a:ext cx="5580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1440711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F20C8849-2EFF-47AE-9654-7601FE9DC1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45C48E8-D83D-4A86-94C2-453A34BAD3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09AD0374-F8C5-40C6-824E-A6AC4B14F0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8515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4A9F12B7-C230-4A45-B1E1-60D3CEAFAF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3031" y="1890938"/>
            <a:ext cx="3654000" cy="435746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05646AE-2456-445E-9368-998792FAF3D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14000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F0C0DEC-71A9-4D1A-B633-EC82B2090318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4268516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FE69C82-0C0E-44CA-9994-726355B050AB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8123031" y="1450800"/>
            <a:ext cx="3654000" cy="27699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3530710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 Content +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9899" y="404813"/>
            <a:ext cx="7504113" cy="5843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Place for chart / graphic / tabl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702C079-ACD8-467E-90FD-329971157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9041BD2-947B-4981-B3F2-8E5697F62E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90265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DEFDA8A-D8EF-47ED-B219-E3EFB886BA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666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1689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1.	LOREM IPSUM DOLOR S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de-DE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F9F097CE-8420-43BB-A756-E420CCCC8E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15666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2.	LOREM IPSUM DOLOR SIT AMET</a:t>
            </a:r>
          </a:p>
        </p:txBody>
      </p:sp>
      <p:sp>
        <p:nvSpPr>
          <p:cNvPr id="23" name="Textplatzhalter 15">
            <a:extLst>
              <a:ext uri="{FF2B5EF4-FFF2-40B4-BE49-F238E27FC236}">
                <a16:creationId xmlns:a16="http://schemas.microsoft.com/office/drawing/2014/main" id="{7E52B595-5B13-4E07-B965-E31C53F39E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66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3.	LOREM IPSUM DOLOR SIT</a:t>
            </a:r>
          </a:p>
        </p:txBody>
      </p:sp>
      <p:sp>
        <p:nvSpPr>
          <p:cNvPr id="24" name="Textplatzhalter 15">
            <a:extLst>
              <a:ext uri="{FF2B5EF4-FFF2-40B4-BE49-F238E27FC236}">
                <a16:creationId xmlns:a16="http://schemas.microsoft.com/office/drawing/2014/main" id="{5FBD3388-134F-41C1-BB88-37FDAB875DF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42910" y="19080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4.	LOREM IPSUM DOLOR SIT</a:t>
            </a:r>
          </a:p>
        </p:txBody>
      </p:sp>
      <p:sp>
        <p:nvSpPr>
          <p:cNvPr id="25" name="Textplatzhalter 15">
            <a:extLst>
              <a:ext uri="{FF2B5EF4-FFF2-40B4-BE49-F238E27FC236}">
                <a16:creationId xmlns:a16="http://schemas.microsoft.com/office/drawing/2014/main" id="{F27F5667-82E1-487C-AA90-04EEBA638D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2910" y="2936700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5.	LOREM IPSUM DOLOR SIT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08796B46-18A8-4D4B-8DC5-8E5606685B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2910" y="3962831"/>
            <a:ext cx="3728781" cy="493200"/>
          </a:xfrm>
          <a:prstGeom prst="roundRect">
            <a:avLst>
              <a:gd name="adj" fmla="val 50000"/>
            </a:avLst>
          </a:prstGeom>
          <a:solidFill>
            <a:srgbClr val="0045FF"/>
          </a:solidFill>
          <a:ln>
            <a:noFill/>
          </a:ln>
        </p:spPr>
        <p:txBody>
          <a:bodyPr vert="horz" wrap="square" lIns="108000" tIns="0" rIns="0" bIns="0" rtlCol="0" anchor="ctr">
            <a:noAutofit/>
          </a:bodyPr>
          <a:lstStyle>
            <a:lvl1pPr marL="273050" indent="-273050" algn="l">
              <a:buNone/>
              <a:defRPr lang="de-DE" b="1" dirty="0" smtClean="0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 lang="de-DE" smtClean="0">
                <a:latin typeface="+mn-lt"/>
              </a:defRPr>
            </a:lvl2pPr>
            <a:lvl3pPr>
              <a:defRPr lang="de-DE" smtClean="0">
                <a:latin typeface="+mn-lt"/>
              </a:defRPr>
            </a:lvl3pPr>
            <a:lvl4pPr marL="1447800" indent="-342900">
              <a:buNone/>
              <a:defRPr lang="de-DE" smtClean="0">
                <a:latin typeface="+mn-lt"/>
              </a:defRPr>
            </a:lvl4pPr>
            <a:lvl5pPr>
              <a:defRPr lang="de-DE">
                <a:latin typeface="+mn-lt"/>
              </a:defRPr>
            </a:lvl5pPr>
          </a:lstStyle>
          <a:p>
            <a:pPr marL="273050" lvl="0" indent="-273050" defTabSz="457200"/>
            <a:r>
              <a:rPr lang="de-DE" dirty="0">
                <a:solidFill>
                  <a:schemeClr val="bg1"/>
                </a:solidFill>
              </a:rPr>
              <a:t>6.	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18674527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4279899" y="404812"/>
            <a:ext cx="7504113" cy="5843587"/>
          </a:xfrm>
          <a:prstGeom prst="rect">
            <a:avLst/>
          </a:prstGeom>
          <a:solidFill>
            <a:schemeClr val="bg2"/>
          </a:solidFill>
        </p:spPr>
        <p:txBody>
          <a:bodyPr anchor="t">
            <a:normAutofit/>
          </a:bodyPr>
          <a:lstStyle>
            <a:lvl1pPr marL="0" indent="0">
              <a:buNone/>
              <a:defRPr sz="1800" i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for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E4050F-64F1-47BC-B522-5CB5026C5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3672000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3D35A2A1-7D11-44E9-84EC-3FD8CD7A8B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4000" y="1449388"/>
            <a:ext cx="3672000" cy="4799011"/>
          </a:xfrm>
          <a:prstGeom prst="rect">
            <a:avLst/>
          </a:prstGeom>
        </p:spPr>
        <p:txBody>
          <a:bodyPr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3984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2D0901D-F20C-4ADE-B558-0AB10D5C4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113616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EB1F31E0-4653-4DC0-B658-BCEDBE198E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000" y="1854616"/>
            <a:ext cx="11361737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61898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8FF59F2D-10A2-4754-9921-2F474FD222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8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F84387DE-2F71-492C-B8B2-0D7AC531CF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97031" y="1450800"/>
            <a:ext cx="5580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D3C193D6-6164-4F01-AED8-29F6CB2ECA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4000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64D01294-00DF-433E-AB6F-5847DB31A2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031" y="1854616"/>
            <a:ext cx="5580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20605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Boxes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3F74D605-A6A0-4595-A8A8-8C6B320EE44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21737" y="1854616"/>
            <a:ext cx="3654000" cy="4393784"/>
          </a:xfrm>
          <a:prstGeom prst="rect">
            <a:avLst/>
          </a:prstGeom>
          <a:ln>
            <a:solidFill>
              <a:srgbClr val="84DA10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buClr>
                <a:schemeClr val="accent2"/>
              </a:buClr>
              <a:defRPr/>
            </a:lvl1pPr>
            <a:lvl2pPr marL="540000" indent="-270000"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 marL="1080000" indent="-270000">
              <a:buClr>
                <a:schemeClr val="accent2"/>
              </a:buClr>
              <a:defRPr/>
            </a:lvl4pPr>
            <a:lvl5pPr marL="1350000" indent="-270000">
              <a:buClr>
                <a:schemeClr val="accent2"/>
              </a:buClr>
              <a:defRPr/>
            </a:lvl5pPr>
            <a:lvl6pPr indent="-270000">
              <a:buClr>
                <a:schemeClr val="accent2"/>
              </a:buClr>
              <a:defRPr/>
            </a:lvl6pPr>
            <a:lvl7pPr marL="1890000" indent="-270000">
              <a:buClr>
                <a:schemeClr val="accent2"/>
              </a:buClr>
              <a:defRPr/>
            </a:lvl7pPr>
            <a:lvl8pPr marL="2160000" indent="-270000">
              <a:buClr>
                <a:schemeClr val="accent2"/>
              </a:buClr>
              <a:defRPr/>
            </a:lvl8pPr>
            <a:lvl9pPr marL="2430000" indent="-270000">
              <a:buClr>
                <a:schemeClr val="accent2"/>
              </a:buClr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61FAF60-2423-427E-BB65-A84B79E915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1313471-CC4F-401D-A21A-64E06FF8FD1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3997" y="1450800"/>
            <a:ext cx="7505511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0049FF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9D47630C-F3E7-45AC-AA11-AABD0794C2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3031" y="1450800"/>
            <a:ext cx="3654000" cy="403815"/>
          </a:xfrm>
          <a:prstGeom prst="round2SameRect">
            <a:avLst>
              <a:gd name="adj1" fmla="val 47647"/>
              <a:gd name="adj2" fmla="val 0"/>
            </a:avLst>
          </a:prstGeom>
          <a:solidFill>
            <a:srgbClr val="84DA10"/>
          </a:solidFill>
          <a:ln w="9525">
            <a:solidFill>
              <a:srgbClr val="84DA1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sz="1800" b="1" cap="none" baseline="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de-DE" sz="1800" smtClean="0">
                <a:solidFill>
                  <a:schemeClr val="lt1"/>
                </a:solidFill>
                <a:latin typeface="+mn-lt"/>
              </a:defRPr>
            </a:lvl2pPr>
            <a:lvl3pPr>
              <a:defRPr lang="de-DE" sz="1800" smtClean="0">
                <a:solidFill>
                  <a:schemeClr val="lt1"/>
                </a:solidFill>
                <a:latin typeface="+mn-lt"/>
              </a:defRPr>
            </a:lvl3pPr>
            <a:lvl4pPr>
              <a:defRPr lang="de-DE" sz="1800" smtClean="0">
                <a:solidFill>
                  <a:schemeClr val="lt1"/>
                </a:solidFill>
                <a:latin typeface="+mn-lt"/>
              </a:defRPr>
            </a:lvl4pPr>
            <a:lvl5pPr>
              <a:defRPr lang="de-DE" sz="1800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B5B02BF9-A2EB-416D-BF9B-D9F5D70447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6" y="1854616"/>
            <a:ext cx="7505511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65077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44E2DD7-B8E4-432E-94F3-EA4CF2C0DB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CD1991F0-1687-4C7C-B1CC-A7F70AC6ED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731D3201-6F36-434E-B46C-3895A6B592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5509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7112281D-448C-495B-92D6-686B41AD1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3031" y="1449388"/>
            <a:ext cx="3654000" cy="40719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49FF"/>
          </a:solidFill>
          <a:ln w="9525">
            <a:solidFill>
              <a:srgbClr val="0045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>
              <a:buNone/>
              <a:defRPr lang="de-DE" b="1" cap="none" baseline="0" smtClean="0">
                <a:solidFill>
                  <a:schemeClr val="lt1"/>
                </a:solidFill>
                <a:cs typeface="Calibri" panose="020F0502020204030204" pitchFamily="34" charset="0"/>
              </a:defRPr>
            </a:lvl1pPr>
            <a:lvl2pPr>
              <a:buNone/>
              <a:defRPr lang="de-DE" smtClean="0">
                <a:solidFill>
                  <a:schemeClr val="lt1"/>
                </a:solidFill>
                <a:latin typeface="+mn-lt"/>
              </a:defRPr>
            </a:lvl2pPr>
            <a:lvl3pPr>
              <a:buNone/>
              <a:defRPr lang="de-DE" smtClean="0">
                <a:solidFill>
                  <a:schemeClr val="lt1"/>
                </a:solidFill>
                <a:latin typeface="+mn-lt"/>
              </a:defRPr>
            </a:lvl3pPr>
            <a:lvl4pPr>
              <a:buFont typeface="Arial" panose="020B0604020202020204" pitchFamily="34" charset="0"/>
              <a:buNone/>
              <a:defRPr lang="de-DE" smtClean="0">
                <a:solidFill>
                  <a:schemeClr val="lt1"/>
                </a:solidFill>
                <a:latin typeface="+mn-lt"/>
              </a:defRPr>
            </a:lvl4pPr>
            <a:lvl5pPr>
              <a:buNone/>
              <a:defRPr lang="de-DE">
                <a:solidFill>
                  <a:schemeClr val="lt1"/>
                </a:solidFill>
                <a:latin typeface="+mn-lt"/>
              </a:defRPr>
            </a:lvl5pPr>
          </a:lstStyle>
          <a:p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SUBTITLE – 18 PT</a:t>
            </a:r>
            <a:endParaRPr lang="de-DE" dirty="0"/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62DF43CE-6BE3-4FF3-A0BA-BBC484F47B2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65509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1CC11A3A-CBFF-43A6-9780-974B5EE0EE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23031" y="1854616"/>
            <a:ext cx="365400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DB45B188-F8CC-4463-A3DB-3DCEDE04063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3997" y="1854616"/>
            <a:ext cx="3647990" cy="4393784"/>
          </a:xfrm>
          <a:prstGeom prst="rect">
            <a:avLst/>
          </a:prstGeom>
          <a:ln>
            <a:solidFill>
              <a:srgbClr val="0045FF"/>
            </a:solidFill>
          </a:ln>
        </p:spPr>
        <p:txBody>
          <a:bodyPr lIns="36000" tIns="36000" rIns="36000" bIns="36000">
            <a:noAutofit/>
          </a:bodyPr>
          <a:lstStyle>
            <a:lvl1pPr marL="270000" indent="-270000">
              <a:defRPr/>
            </a:lvl1pPr>
            <a:lvl2pPr marL="540000" indent="-270000">
              <a:defRPr/>
            </a:lvl2pPr>
            <a:lvl4pPr marL="1080000" indent="-270000">
              <a:defRPr/>
            </a:lvl4pPr>
            <a:lvl5pPr marL="1350000" indent="-270000">
              <a:defRPr/>
            </a:lvl5pPr>
            <a:lvl6pPr indent="-270000">
              <a:defRPr/>
            </a:lvl6pPr>
            <a:lvl7pPr marL="1890000" indent="-270000">
              <a:defRPr/>
            </a:lvl7pPr>
            <a:lvl8pPr marL="2160000" indent="-270000">
              <a:defRPr/>
            </a:lvl8pPr>
            <a:lvl9pPr marL="2430000" indent="-270000">
              <a:defRPr/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57326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562" y="863601"/>
            <a:ext cx="2198981" cy="131257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F1C1788-77C7-4340-814D-6E8081878077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F9EF54A-E61E-4651-AC2F-D709B5A236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rgbClr val="0045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30830990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blue">
    <p:bg>
      <p:bgPr>
        <a:solidFill>
          <a:srgbClr val="004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27F486C3-CDA4-124C-A462-44685C2D7A95}"/>
              </a:ext>
            </a:extLst>
          </p:cNvPr>
          <p:cNvCxnSpPr>
            <a:cxnSpLocks/>
          </p:cNvCxnSpPr>
          <p:nvPr userDrawn="1"/>
        </p:nvCxnSpPr>
        <p:spPr>
          <a:xfrm>
            <a:off x="1284492" y="5198844"/>
            <a:ext cx="684000" cy="0"/>
          </a:xfrm>
          <a:prstGeom prst="line">
            <a:avLst/>
          </a:prstGeom>
          <a:ln w="635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BD3224DD-2C9C-464D-AAB5-AB95BC3FD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19562" y="865276"/>
            <a:ext cx="2198981" cy="130921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57655044-659B-4746-95D9-16BEB3270D33}"/>
              </a:ext>
            </a:extLst>
          </p:cNvPr>
          <p:cNvSpPr txBox="1"/>
          <p:nvPr userDrawn="1"/>
        </p:nvSpPr>
        <p:spPr>
          <a:xfrm>
            <a:off x="1260000" y="4327072"/>
            <a:ext cx="3556929" cy="64497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algn="l">
              <a:buClr>
                <a:schemeClr val="tx2"/>
              </a:buClr>
            </a:pPr>
            <a:r>
              <a:rPr lang="en-US" sz="36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nk you!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0DAC319-6721-4323-BFB4-C53FD8909A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260000" y="5583599"/>
            <a:ext cx="3928017" cy="6648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if applicable</a:t>
            </a:r>
          </a:p>
        </p:txBody>
      </p:sp>
    </p:spTree>
    <p:extLst>
      <p:ext uri="{BB962C8B-B14F-4D97-AF65-F5344CB8AC3E}">
        <p14:creationId xmlns:p14="http://schemas.microsoft.com/office/powerpoint/2010/main" val="8032656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D7F3004-7EC0-469E-6971-7E80A5D07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33F6648-51A5-4F44-9ED2-45D40BEF56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2179158-224A-F1E2-71CB-4EBE83AFB3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28AC12C-4777-5823-2B22-3FC3289B9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F346B6F-A943-508E-D86C-1FA18A613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28808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32D2D3-5C9D-4FFD-863E-5CA01C024CB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1095780"/>
      </p:ext>
    </p:extLst>
  </p:cSld>
  <p:clrMapOvr>
    <a:masterClrMapping/>
  </p:clrMapOvr>
  <p:transition spd="med">
    <p:push dir="u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A818BD-4F00-1E4B-BD4D-B50F7E93CD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50B610-0901-784C-A401-C84CC561C2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515F26F-1214-7845-8C68-5AC100F174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8D700-39E6-254D-B6ED-8A6A6A7AD910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BA3A0B-BA1B-F849-B2B7-B21C6876D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0778F48-2ED6-7A4D-BC13-EA253616F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CD6AF3-DDA3-D241-B9CF-78C9D8BF502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36422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5EC7C-E19B-467B-807D-686F3CCA24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8FC3384-5EC3-43B7-90FF-41E0694407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11362062" cy="4799012"/>
          </a:xfrm>
        </p:spPr>
        <p:txBody>
          <a:bodyPr lIns="0" rIns="0">
            <a:noAutofit/>
          </a:bodyPr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2797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1199AC-D2AD-47C5-9464-C9D6EECB3F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4969" y="404812"/>
            <a:ext cx="11362062" cy="751127"/>
          </a:xfrm>
        </p:spPr>
        <p:txBody>
          <a:bodyPr/>
          <a:lstStyle/>
          <a:p>
            <a:r>
              <a:rPr lang="en-US" dirty="0"/>
              <a:t>Add title</a:t>
            </a:r>
            <a:endParaRPr lang="de-DE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E97C0E8-8FAC-4A7F-8A48-9E311979D76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195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850AEE45-1A75-4998-A0CA-A6DB7B73A7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7031" y="1449388"/>
            <a:ext cx="5580000" cy="4799012"/>
          </a:xfrm>
        </p:spPr>
        <p:txBody>
          <a:bodyPr/>
          <a:lstStyle>
            <a:lvl1pPr marL="270000" indent="-270000">
              <a:buFont typeface="Arial" panose="020B0604020202020204" pitchFamily="34" charset="0"/>
              <a:buChar char="•"/>
              <a:defRPr/>
            </a:lvl1pPr>
            <a:lvl2pPr marL="540000" indent="-270000">
              <a:buFont typeface="Arial" panose="020B0604020202020204" pitchFamily="34" charset="0"/>
              <a:buChar char="•"/>
              <a:defRPr/>
            </a:lvl2pPr>
            <a:lvl3pPr>
              <a:buFont typeface="Arial" panose="020B0604020202020204" pitchFamily="34" charset="0"/>
              <a:buChar char="•"/>
              <a:defRPr/>
            </a:lvl3pPr>
            <a:lvl4pPr marL="1080000" indent="-270000">
              <a:buFont typeface="Arial" panose="020B0604020202020204" pitchFamily="34" charset="0"/>
              <a:buChar char="•"/>
              <a:defRPr/>
            </a:lvl4pPr>
            <a:lvl5pPr marL="1350000" indent="-270000">
              <a:buFont typeface="Arial" panose="020B0604020202020204" pitchFamily="34" charset="0"/>
              <a:buChar char="•"/>
              <a:defRPr/>
            </a:lvl5pPr>
            <a:lvl6pPr indent="-270000">
              <a:buFont typeface="Arial" panose="020B0604020202020204" pitchFamily="34" charset="0"/>
              <a:buChar char="•"/>
              <a:defRPr/>
            </a:lvl6pPr>
            <a:lvl7pPr marL="1890000" indent="-270000">
              <a:buFont typeface="Arial" panose="020B0604020202020204" pitchFamily="34" charset="0"/>
              <a:buChar char="•"/>
              <a:defRPr/>
            </a:lvl7pPr>
            <a:lvl8pPr marL="2160000" indent="-270000">
              <a:buFont typeface="Arial" panose="020B0604020202020204" pitchFamily="34" charset="0"/>
              <a:buChar char="•"/>
              <a:defRPr/>
            </a:lvl8pPr>
            <a:lvl9pPr marL="2430000" indent="-270000"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de-DE" dirty="0"/>
              <a:t>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/>
              <a:t>Eight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endParaRPr lang="de-DE" dirty="0"/>
          </a:p>
          <a:p>
            <a:pPr lvl="3"/>
            <a:endParaRPr lang="de-DE" dirty="0"/>
          </a:p>
          <a:p>
            <a:pPr lvl="4"/>
            <a:endParaRPr lang="de-DE" dirty="0"/>
          </a:p>
          <a:p>
            <a:pPr lvl="5"/>
            <a:endParaRPr lang="de-DE" dirty="0"/>
          </a:p>
          <a:p>
            <a:pPr lvl="6"/>
            <a:endParaRPr lang="de-DE" dirty="0"/>
          </a:p>
          <a:p>
            <a:pPr lvl="7"/>
            <a:endParaRPr lang="de-DE" dirty="0"/>
          </a:p>
          <a:p>
            <a:pPr lvl="8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076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Relationship Id="rId30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tags" Target="../tags/tag3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heme" Target="../theme/theme3.xml"/><Relationship Id="rId27" Type="http://schemas.openxmlformats.org/officeDocument/2006/relationships/image" Target="../media/image3.svg"/><Relationship Id="rId30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tags" Target="../tags/tag4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theme" Target="../theme/theme4.xml"/><Relationship Id="rId33" Type="http://schemas.openxmlformats.org/officeDocument/2006/relationships/image" Target="../media/image6.png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oleObject" Target="../embeddings/oleObject3.bin"/><Relationship Id="rId30" Type="http://schemas.openxmlformats.org/officeDocument/2006/relationships/image" Target="../media/image3.svg"/><Relationship Id="rId8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714EE1-B772-4E5D-85E0-7FEEF67196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70138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714EE1-B772-4E5D-85E0-7FEEF6719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" name="Classification: Strictly Confidential" hidden="1">
            <a:extLst>
              <a:ext uri="{FF2B5EF4-FFF2-40B4-BE49-F238E27FC236}">
                <a16:creationId xmlns:a16="http://schemas.microsoft.com/office/drawing/2014/main" id="{1BB65F03-1113-4A84-B645-C7E625F61563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938" y="6462215"/>
            <a:ext cx="1759744" cy="172048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589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673" r:id="rId2"/>
    <p:sldLayoutId id="2147483765" r:id="rId3"/>
    <p:sldLayoutId id="2147483762" r:id="rId4"/>
    <p:sldLayoutId id="2147483679" r:id="rId5"/>
    <p:sldLayoutId id="2147483764" r:id="rId6"/>
    <p:sldLayoutId id="2147483776" r:id="rId7"/>
    <p:sldLayoutId id="2147483674" r:id="rId8"/>
    <p:sldLayoutId id="2147483676" r:id="rId9"/>
    <p:sldLayoutId id="2147483712" r:id="rId10"/>
    <p:sldLayoutId id="2147483759" r:id="rId11"/>
    <p:sldLayoutId id="2147483677" r:id="rId12"/>
    <p:sldLayoutId id="2147483760" r:id="rId13"/>
    <p:sldLayoutId id="2147483680" r:id="rId14"/>
    <p:sldLayoutId id="2147483681" r:id="rId15"/>
    <p:sldLayoutId id="2147483767" r:id="rId16"/>
    <p:sldLayoutId id="2147483768" r:id="rId17"/>
    <p:sldLayoutId id="2147483771" r:id="rId18"/>
    <p:sldLayoutId id="2147483777" r:id="rId19"/>
    <p:sldLayoutId id="2147483774" r:id="rId20"/>
    <p:sldLayoutId id="2147483775" r:id="rId21"/>
    <p:sldLayoutId id="2147483780" r:id="rId22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 userDrawn="1">
          <p15:clr>
            <a:srgbClr val="F26B43"/>
          </p15:clr>
        </p15:guide>
        <p15:guide id="5" orient="horz" pos="255" userDrawn="1">
          <p15:clr>
            <a:srgbClr val="F26B43"/>
          </p15:clr>
        </p15:guide>
        <p15:guide id="6" orient="horz" pos="3936" userDrawn="1">
          <p15:clr>
            <a:srgbClr val="F26B43"/>
          </p15:clr>
        </p15:guide>
        <p15:guide id="7" orient="horz" pos="913" userDrawn="1">
          <p15:clr>
            <a:srgbClr val="F26B43"/>
          </p15:clr>
        </p15:guide>
        <p15:guide id="8" pos="742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C82417C1-7264-D73C-359B-A49C0871CE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75C0000-2B07-0F69-EEAD-9F3B1C8193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C0A42E6-8768-B785-3B31-163D1645E6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2EB99-3A44-5C4C-B89D-E1C264887DF8}" type="datetimeFigureOut">
              <a:rPr lang="cs-CZ" smtClean="0"/>
              <a:t>30.09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C5E6635-BA24-618F-C8C0-8EF58237A3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26868D-3E70-7082-3D16-A14DA1BD9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462F33-92A5-5F48-B741-45A1AC573A8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5300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81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714EE1-B772-4E5D-85E0-7FEEF67196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70138132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714EE1-B772-4E5D-85E0-7FEEF6719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rcRect l="82232" t="89047"/>
          <a:stretch/>
        </p:blipFill>
        <p:spPr>
          <a:xfrm>
            <a:off x="10025745" y="6106876"/>
            <a:ext cx="2166257" cy="751127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71" y="404816"/>
            <a:ext cx="11362063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" name="Classification: Strictly Confidential" hidden="1">
            <a:extLst>
              <a:ext uri="{FF2B5EF4-FFF2-40B4-BE49-F238E27FC236}">
                <a16:creationId xmlns:a16="http://schemas.microsoft.com/office/drawing/2014/main" id="{1BB65F03-1113-4A84-B645-C7E625F6156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939" y="6462215"/>
            <a:ext cx="1759744" cy="172048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5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7" y="6462116"/>
            <a:ext cx="645499" cy="17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2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693" indent="-265107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12" indent="-276218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05" indent="-2699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298" indent="-2666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2992" indent="-2666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10" indent="-276218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04" indent="-2666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597" indent="-2666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290" indent="-266693" algn="l" defTabSz="26999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3936">
          <p15:clr>
            <a:srgbClr val="F26B43"/>
          </p15:clr>
        </p15:guide>
        <p15:guide id="7" orient="horz" pos="913">
          <p15:clr>
            <a:srgbClr val="F26B43"/>
          </p15:clr>
        </p15:guide>
        <p15:guide id="8" pos="742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714EE1-B772-4E5D-85E0-7FEEF67196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701381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714EE1-B772-4E5D-85E0-7FEEF6719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Logo-Background" hidden="1">
            <a:extLst>
              <a:ext uri="{FF2B5EF4-FFF2-40B4-BE49-F238E27FC236}">
                <a16:creationId xmlns:a16="http://schemas.microsoft.com/office/drawing/2014/main" id="{61FFC786-D59E-574C-8A92-AC82C59F5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l="82232" t="89047"/>
          <a:stretch/>
        </p:blipFill>
        <p:spPr>
          <a:xfrm>
            <a:off x="10025742" y="6106872"/>
            <a:ext cx="2166257" cy="751127"/>
          </a:xfrm>
          <a:prstGeom prst="rect">
            <a:avLst/>
          </a:prstGeom>
        </p:spPr>
      </p:pic>
      <p:sp>
        <p:nvSpPr>
          <p:cNvPr id="2" name="Title Field"/>
          <p:cNvSpPr>
            <a:spLocks noGrp="1"/>
          </p:cNvSpPr>
          <p:nvPr>
            <p:ph type="title"/>
          </p:nvPr>
        </p:nvSpPr>
        <p:spPr>
          <a:xfrm>
            <a:off x="414969" y="404812"/>
            <a:ext cx="11362062" cy="7511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Add title</a:t>
            </a:r>
          </a:p>
        </p:txBody>
      </p:sp>
      <p:sp>
        <p:nvSpPr>
          <p:cNvPr id="8" name="Text Field">
            <a:extLst>
              <a:ext uri="{FF2B5EF4-FFF2-40B4-BE49-F238E27FC236}">
                <a16:creationId xmlns:a16="http://schemas.microsoft.com/office/drawing/2014/main" id="{18170AD0-1EDE-4718-8467-9C3ECCB830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4000" y="1450800"/>
            <a:ext cx="11361600" cy="4799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pic>
        <p:nvPicPr>
          <p:cNvPr id="6" name="Classification: Strictly Confidential" hidden="1">
            <a:extLst>
              <a:ext uri="{FF2B5EF4-FFF2-40B4-BE49-F238E27FC236}">
                <a16:creationId xmlns:a16="http://schemas.microsoft.com/office/drawing/2014/main" id="{1BB65F03-1113-4A84-B645-C7E625F61563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938" y="6462215"/>
            <a:ext cx="1759744" cy="172048"/>
          </a:xfrm>
          <a:prstGeom prst="rect">
            <a:avLst/>
          </a:prstGeom>
        </p:spPr>
      </p:pic>
      <p:pic>
        <p:nvPicPr>
          <p:cNvPr id="5" name="Classification: Restricted" hidden="1">
            <a:extLst>
              <a:ext uri="{FF2B5EF4-FFF2-40B4-BE49-F238E27FC236}">
                <a16:creationId xmlns:a16="http://schemas.microsoft.com/office/drawing/2014/main" id="{7876D295-5377-4E2F-8EC0-96DC0CF5E5F6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6312" y="6462685"/>
            <a:ext cx="956975" cy="172264"/>
          </a:xfrm>
          <a:prstGeom prst="rect">
            <a:avLst/>
          </a:prstGeom>
        </p:spPr>
      </p:pic>
      <p:pic>
        <p:nvPicPr>
          <p:cNvPr id="14" name="Classification: Public" hidden="1">
            <a:extLst>
              <a:ext uri="{FF2B5EF4-FFF2-40B4-BE49-F238E27FC236}">
                <a16:creationId xmlns:a16="http://schemas.microsoft.com/office/drawing/2014/main" id="{357C4703-07F4-4C0E-B7C7-0CDFF500C6C4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96" y="6462116"/>
            <a:ext cx="645498" cy="17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30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7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66700" indent="-265113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42925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09625" indent="-2700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763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343025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19250" indent="-276225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8859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21526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2419350" indent="-266700" algn="l" defTabSz="2700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5" orient="horz" pos="255">
          <p15:clr>
            <a:srgbClr val="F26B43"/>
          </p15:clr>
        </p15:guide>
        <p15:guide id="6" orient="horz" pos="3936">
          <p15:clr>
            <a:srgbClr val="F26B43"/>
          </p15:clr>
        </p15:guide>
        <p15:guide id="7" orient="horz" pos="913">
          <p15:clr>
            <a:srgbClr val="F26B43"/>
          </p15:clr>
        </p15:guide>
        <p15:guide id="8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svg"/><Relationship Id="rId18" Type="http://schemas.openxmlformats.org/officeDocument/2006/relationships/image" Target="../media/image33.svg"/><Relationship Id="rId3" Type="http://schemas.microsoft.com/office/2017/06/relationships/model3d" Target="../media/model3d1.glb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31.svg"/><Relationship Id="rId20" Type="http://schemas.openxmlformats.org/officeDocument/2006/relationships/image" Target="../media/image35.sv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24" Type="http://schemas.openxmlformats.org/officeDocument/2006/relationships/image" Target="../media/image38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7.png"/><Relationship Id="rId10" Type="http://schemas.openxmlformats.org/officeDocument/2006/relationships/image" Target="../media/image25.sv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eg"/><Relationship Id="rId22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webgate.ec.europa.eu/eudamed-help/en/documentation/user-guides---documents-in-pdf-format.html" TargetMode="Externa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8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0000">
              <a:srgbClr val="2D9673">
                <a:alpha val="95000"/>
              </a:srgbClr>
            </a:gs>
            <a:gs pos="64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DCB4500-821A-44C1-B1DE-AEF7AB6441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80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DCB4500-821A-44C1-B1DE-AEF7AB644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B8CEC052-AA50-B549-9BAD-7C84646202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6319" y="1009552"/>
            <a:ext cx="5323680" cy="2675844"/>
          </a:xfrm>
        </p:spPr>
        <p:txBody>
          <a:bodyPr vert="horz"/>
          <a:lstStyle/>
          <a:p>
            <a:r>
              <a:rPr lang="en-US" dirty="0" err="1"/>
              <a:t>Povinnosti</a:t>
            </a:r>
            <a:r>
              <a:rPr lang="en-US" dirty="0"/>
              <a:t> </a:t>
            </a:r>
            <a:r>
              <a:rPr lang="en-US" dirty="0" err="1"/>
              <a:t>poskytovatelů</a:t>
            </a:r>
            <a:r>
              <a:rPr lang="en-US" dirty="0"/>
              <a:t> ZS </a:t>
            </a:r>
            <a:r>
              <a:rPr lang="en-US" dirty="0" err="1"/>
              <a:t>dle</a:t>
            </a:r>
            <a:r>
              <a:rPr lang="en-US" dirty="0"/>
              <a:t> MDR</a:t>
            </a:r>
          </a:p>
        </p:txBody>
      </p:sp>
      <p:sp>
        <p:nvSpPr>
          <p:cNvPr id="18" name="Untertitel 17">
            <a:extLst>
              <a:ext uri="{FF2B5EF4-FFF2-40B4-BE49-F238E27FC236}">
                <a16:creationId xmlns:a16="http://schemas.microsoft.com/office/drawing/2014/main" id="{49553917-FB56-2641-B67D-5FF30943DB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6319" y="5310760"/>
            <a:ext cx="5323681" cy="696423"/>
          </a:xfrm>
        </p:spPr>
        <p:txBody>
          <a:bodyPr/>
          <a:lstStyle/>
          <a:p>
            <a:r>
              <a:rPr lang="en-US" sz="1600" dirty="0"/>
              <a:t>Mgr. </a:t>
            </a:r>
            <a:r>
              <a:rPr lang="en-US" sz="1600" dirty="0" err="1"/>
              <a:t>Jiří</a:t>
            </a:r>
            <a:r>
              <a:rPr lang="en-US" sz="1600" dirty="0"/>
              <a:t> </a:t>
            </a:r>
            <a:r>
              <a:rPr lang="en-US" sz="1600" dirty="0" err="1"/>
              <a:t>Morávek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732 856 763</a:t>
            </a:r>
          </a:p>
          <a:p>
            <a:r>
              <a:rPr lang="en-US" sz="1600" dirty="0" err="1"/>
              <a:t>moravek@mednez.cz</a:t>
            </a:r>
            <a:endParaRPr lang="en-US" sz="1600" dirty="0"/>
          </a:p>
          <a:p>
            <a:r>
              <a:rPr lang="en-US" sz="1600" dirty="0" err="1"/>
              <a:t>Mednez</a:t>
            </a:r>
            <a:r>
              <a:rPr lang="en-US" sz="1600" dirty="0"/>
              <a:t> consult, </a:t>
            </a:r>
            <a:r>
              <a:rPr lang="en-US" sz="1600" dirty="0" err="1"/>
              <a:t>s.r.o.</a:t>
            </a:r>
            <a:endParaRPr lang="en-US" sz="1600" dirty="0"/>
          </a:p>
          <a:p>
            <a:endParaRPr lang="en-US" sz="16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FCB6A8-EB8C-4D4E-B896-EDF215FF8FC2}"/>
              </a:ext>
            </a:extLst>
          </p:cNvPr>
          <p:cNvSpPr txBox="1"/>
          <p:nvPr/>
        </p:nvSpPr>
        <p:spPr>
          <a:xfrm>
            <a:off x="8202440" y="1267485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285750" indent="-285750" algn="l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AFF1C4D-0CEF-D36B-B4B8-FBE118047F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829" t="12901" b="16609"/>
          <a:stretch/>
        </p:blipFill>
        <p:spPr>
          <a:xfrm>
            <a:off x="8001000" y="509309"/>
            <a:ext cx="4191000" cy="1000487"/>
          </a:xfrm>
          <a:prstGeom prst="rect">
            <a:avLst/>
          </a:prstGeom>
        </p:spPr>
      </p:pic>
      <p:sp>
        <p:nvSpPr>
          <p:cNvPr id="2" name="TextovéPole 1">
            <a:extLst>
              <a:ext uri="{FF2B5EF4-FFF2-40B4-BE49-F238E27FC236}">
                <a16:creationId xmlns:a16="http://schemas.microsoft.com/office/drawing/2014/main" id="{AB8DBFC7-8F25-9C56-8DA9-FDCD19AE4349}"/>
              </a:ext>
            </a:extLst>
          </p:cNvPr>
          <p:cNvSpPr txBox="1"/>
          <p:nvPr/>
        </p:nvSpPr>
        <p:spPr>
          <a:xfrm>
            <a:off x="6320118" y="2796988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E29FD61-02AD-7A80-6CCE-9A2D46F7BCAA}"/>
              </a:ext>
            </a:extLst>
          </p:cNvPr>
          <p:cNvSpPr txBox="1"/>
          <p:nvPr/>
        </p:nvSpPr>
        <p:spPr>
          <a:xfrm>
            <a:off x="2299447" y="1398494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76FC9863-78EA-4CA0-7164-99F82B3E94C1}"/>
              </a:ext>
            </a:extLst>
          </p:cNvPr>
          <p:cNvSpPr txBox="1"/>
          <p:nvPr/>
        </p:nvSpPr>
        <p:spPr>
          <a:xfrm>
            <a:off x="7046259" y="1909482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7037521-7DC6-89CD-7319-43995A401209}"/>
              </a:ext>
            </a:extLst>
          </p:cNvPr>
          <p:cNvSpPr txBox="1"/>
          <p:nvPr/>
        </p:nvSpPr>
        <p:spPr>
          <a:xfrm>
            <a:off x="10007600" y="208280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92140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2"/>
          <p:cNvSpPr>
            <a:spLocks noGrp="1" noChangeArrowheads="1"/>
          </p:cNvSpPr>
          <p:nvPr>
            <p:ph type="title"/>
          </p:nvPr>
        </p:nvSpPr>
        <p:spPr>
          <a:xfrm>
            <a:off x="591905" y="59155"/>
            <a:ext cx="11017224" cy="1143000"/>
          </a:xfrm>
        </p:spPr>
        <p:txBody>
          <a:bodyPr/>
          <a:lstStyle/>
          <a:p>
            <a:pPr algn="l"/>
            <a:r>
              <a:rPr lang="cs-CZ" sz="2800" b="0" dirty="0">
                <a:solidFill>
                  <a:srgbClr val="2D9673"/>
                </a:solidFill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Obal – příklad ZP </a:t>
            </a:r>
            <a:r>
              <a:rPr lang="cs-CZ" sz="2800" b="0" dirty="0" err="1">
                <a:solidFill>
                  <a:srgbClr val="2D9673"/>
                </a:solidFill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IIa</a:t>
            </a:r>
            <a:r>
              <a:rPr lang="cs-CZ" sz="2800" b="0" dirty="0">
                <a:solidFill>
                  <a:srgbClr val="2D9673"/>
                </a:solidFill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, výrobce mimo Unii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8E212E8C-0256-4710-A78B-7F9BA1B01E0A}"/>
              </a:ext>
            </a:extLst>
          </p:cNvPr>
          <p:cNvSpPr txBox="1"/>
          <p:nvPr/>
        </p:nvSpPr>
        <p:spPr>
          <a:xfrm>
            <a:off x="767750" y="6486061"/>
            <a:ext cx="10841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0"/>
              </a:buClr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gulace reklamy nebude třeba -&gt; nezbyde na ní místo.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F3327C33-65AA-9DE5-6D2D-CEDB89D8053B}"/>
              </a:ext>
            </a:extLst>
          </p:cNvPr>
          <p:cNvGrpSpPr/>
          <p:nvPr/>
        </p:nvGrpSpPr>
        <p:grpSpPr>
          <a:xfrm>
            <a:off x="3868708" y="1063141"/>
            <a:ext cx="8759233" cy="5662916"/>
            <a:chOff x="1332997" y="597543"/>
            <a:chExt cx="8759233" cy="5662916"/>
          </a:xfrm>
        </p:grpSpPr>
        <p:sp>
          <p:nvSpPr>
            <p:cNvPr id="2" name="AutoShape 2" descr="manufacturer">
              <a:extLst>
                <a:ext uri="{FF2B5EF4-FFF2-40B4-BE49-F238E27FC236}">
                  <a16:creationId xmlns:a16="http://schemas.microsoft.com/office/drawing/2014/main" id="{96849C96-856D-43BB-8630-ED0A75C8AC3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883639" y="3645271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mc:AlternateContent xmlns:mc="http://schemas.openxmlformats.org/markup-compatibility/2006">
          <mc:Choice xmlns:am3d="http://schemas.microsoft.com/office/drawing/2017/model3d" Requires="am3d">
            <p:graphicFrame>
              <p:nvGraphicFramePr>
                <p:cNvPr id="3" name="3D model 2" descr="Light Gray Cuboid">
                  <a:extLst>
                    <a:ext uri="{FF2B5EF4-FFF2-40B4-BE49-F238E27FC236}">
                      <a16:creationId xmlns:a16="http://schemas.microsoft.com/office/drawing/2014/main" id="{C537E97A-134F-4F33-A0DC-DA80AABD9728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1332997" y="597543"/>
                <a:ext cx="8759233" cy="5662916"/>
              </p:xfrm>
              <a:graphic>
                <a:graphicData uri="http://schemas.microsoft.com/office/drawing/2017/model3d">
                  <am3d:model3d r:embed="rId3">
                    <am3d:spPr>
                      <a:xfrm>
                        <a:off x="0" y="0"/>
                        <a:ext cx="8759233" cy="5662916"/>
                      </a:xfrm>
                      <a:prstGeom prst="rect">
                        <a:avLst/>
                      </a:prstGeom>
                      <a:noFill/>
                    </am3d:spPr>
                    <am3d:camera>
                      <am3d:pos x="0" y="0" z="57664451"/>
                      <am3d:up dx="0" dy="36000000" dz="0"/>
                      <am3d:lookAt x="0" y="0" z="0"/>
                      <am3d:perspective fov="2700000"/>
                    </am3d:camera>
                    <am3d:trans>
                      <am3d:meterPerModelUnit n="4361393" d="1000000"/>
                      <am3d:preTrans dx="0" dy="-6493603" dz="0"/>
                      <am3d:scale>
                        <am3d:sx n="1000000" d="1000000"/>
                        <am3d:sy n="1000000" d="1000000"/>
                        <am3d:sz n="1000000" d="1000000"/>
                      </am3d:scale>
                      <am3d:rot ax="7285067" ay="2356840" az="7989594"/>
                      <am3d:postTrans dx="0" dy="0" dz="0"/>
                    </am3d:trans>
                    <am3d:raster rName="Office3DRenderer" rVer="16.0.8326">
                      <am3d:blip r:embed="rId4"/>
                    </am3d:raster>
                    <am3d:objViewport viewportSz="6488963"/>
                    <am3d:ambientLight>
                      <am3d:clr>
                        <a:scrgbClr r="50000" g="50000" b="50000"/>
                      </am3d:clr>
                      <am3d:illuminance n="500000" d="1000000"/>
                    </am3d:ambientLight>
                    <am3d:ptLight rad="0">
                      <am3d:clr>
                        <a:scrgbClr r="100000" g="75000" b="50000"/>
                      </am3d:clr>
                      <am3d:intensity n="9765625" d="1000000"/>
                      <am3d:pos x="21959998" y="70920001" z="16344003"/>
                    </am3d:ptLight>
                    <am3d:ptLight rad="0">
                      <am3d:clr>
                        <a:scrgbClr r="40000" g="60000" b="95000"/>
                      </am3d:clr>
                      <am3d:intensity n="12250000" d="1000000"/>
                      <am3d:pos x="-37964106" y="51130435" z="57631972"/>
                    </am3d:ptLight>
                    <am3d:ptLight rad="0">
                      <am3d:clr>
                        <a:scrgbClr r="86837" g="72700" b="100000"/>
                      </am3d:clr>
                      <am3d:intensity n="3125000" d="1000000"/>
                      <am3d:pos x="-37739122" y="58056624" z="-34769649"/>
                    </am3d:ptLight>
                  </am3d:model3d>
                </a:graphicData>
              </a:graphic>
            </p:graphicFrame>
          </mc:Choice>
          <mc:Fallback>
            <p:pic>
              <p:nvPicPr>
                <p:cNvPr id="3" name="3D model 2" descr="Light Gray Cuboid">
                  <a:extLst>
                    <a:ext uri="{FF2B5EF4-FFF2-40B4-BE49-F238E27FC236}">
                      <a16:creationId xmlns:a16="http://schemas.microsoft.com/office/drawing/2014/main" id="{C537E97A-134F-4F33-A0DC-DA80AABD972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3868708" y="1063141"/>
                  <a:ext cx="8759233" cy="5662916"/>
                </a:xfrm>
                <a:prstGeom prst="rect">
                  <a:avLst/>
                </a:prstGeom>
                <a:noFill/>
              </p:spPr>
            </p:pic>
          </mc:Fallback>
        </mc:AlternateContent>
        <p:pic>
          <p:nvPicPr>
            <p:cNvPr id="23" name="Grafický objekt 22">
              <a:extLst>
                <a:ext uri="{FF2B5EF4-FFF2-40B4-BE49-F238E27FC236}">
                  <a16:creationId xmlns:a16="http://schemas.microsoft.com/office/drawing/2014/main" id="{6F03EE51-B3AD-49D2-9D42-ADF758342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20205821">
              <a:off x="2967007" y="2732763"/>
              <a:ext cx="505427" cy="359119"/>
            </a:xfrm>
            <a:prstGeom prst="rect">
              <a:avLst/>
            </a:prstGeom>
          </p:spPr>
        </p:pic>
        <p:sp>
          <p:nvSpPr>
            <p:cNvPr id="4" name="TextovéPole 3">
              <a:extLst>
                <a:ext uri="{FF2B5EF4-FFF2-40B4-BE49-F238E27FC236}">
                  <a16:creationId xmlns:a16="http://schemas.microsoft.com/office/drawing/2014/main" id="{07DB092D-FA8E-4527-8BB7-0F85B7C86560}"/>
                </a:ext>
              </a:extLst>
            </p:cNvPr>
            <p:cNvSpPr txBox="1"/>
            <p:nvPr/>
          </p:nvSpPr>
          <p:spPr>
            <a:xfrm rot="20347295">
              <a:off x="3923304" y="2033087"/>
              <a:ext cx="26887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DR Krytí </a:t>
              </a:r>
              <a:r>
                <a:rPr kumimoji="0" lang="cs-CZ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xample</a:t>
              </a:r>
              <a:endPara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TextovéPole 10">
              <a:extLst>
                <a:ext uri="{FF2B5EF4-FFF2-40B4-BE49-F238E27FC236}">
                  <a16:creationId xmlns:a16="http://schemas.microsoft.com/office/drawing/2014/main" id="{ED9E61A3-E36B-431D-86FA-03FA69C9DA91}"/>
                </a:ext>
              </a:extLst>
            </p:cNvPr>
            <p:cNvSpPr txBox="1"/>
            <p:nvPr/>
          </p:nvSpPr>
          <p:spPr>
            <a:xfrm rot="20190243">
              <a:off x="4952973" y="2012026"/>
              <a:ext cx="25178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 ks krycího materiálu k ochraně…</a:t>
              </a:r>
            </a:p>
          </p:txBody>
        </p:sp>
        <p:pic>
          <p:nvPicPr>
            <p:cNvPr id="12" name="Grafický objekt 11">
              <a:extLst>
                <a:ext uri="{FF2B5EF4-FFF2-40B4-BE49-F238E27FC236}">
                  <a16:creationId xmlns:a16="http://schemas.microsoft.com/office/drawing/2014/main" id="{3B9A2EC3-4C8A-4B5F-8233-C1DB6002B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135367">
              <a:off x="3871420" y="4434955"/>
              <a:ext cx="377159" cy="352428"/>
            </a:xfrm>
            <a:prstGeom prst="rect">
              <a:avLst/>
            </a:prstGeom>
          </p:spPr>
        </p:pic>
        <p:sp>
          <p:nvSpPr>
            <p:cNvPr id="13" name="TextovéPole 12">
              <a:extLst>
                <a:ext uri="{FF2B5EF4-FFF2-40B4-BE49-F238E27FC236}">
                  <a16:creationId xmlns:a16="http://schemas.microsoft.com/office/drawing/2014/main" id="{0720CC1E-8602-48FD-BDCF-9660E099D3E6}"/>
                </a:ext>
              </a:extLst>
            </p:cNvPr>
            <p:cNvSpPr txBox="1"/>
            <p:nvPr/>
          </p:nvSpPr>
          <p:spPr>
            <a:xfrm rot="20204036">
              <a:off x="4134002" y="3747059"/>
              <a:ext cx="2189003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inaMED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.r.o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ina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t. 36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62 00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hinatown,China</a:t>
              </a:r>
              <a:endPara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199707F7-EFA1-4853-8498-8597F37643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0216643">
              <a:off x="4137647" y="4750692"/>
              <a:ext cx="430121" cy="269879"/>
            </a:xfrm>
            <a:prstGeom prst="rect">
              <a:avLst/>
            </a:prstGeom>
          </p:spPr>
        </p:pic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2BF3D036-AB58-4AA2-BB45-A27450F6C0A6}"/>
                </a:ext>
              </a:extLst>
            </p:cNvPr>
            <p:cNvSpPr txBox="1"/>
            <p:nvPr/>
          </p:nvSpPr>
          <p:spPr>
            <a:xfrm rot="20179284">
              <a:off x="4427075" y="4316203"/>
              <a:ext cx="21640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201948978</a:t>
              </a:r>
            </a:p>
          </p:txBody>
        </p:sp>
        <p:pic>
          <p:nvPicPr>
            <p:cNvPr id="9218" name="Picture 2" descr="FDA UDI">
              <a:extLst>
                <a:ext uri="{FF2B5EF4-FFF2-40B4-BE49-F238E27FC236}">
                  <a16:creationId xmlns:a16="http://schemas.microsoft.com/office/drawing/2014/main" id="{D820B188-FECF-47DD-A68E-608C45DF31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6" t="33545" r="-1459" b="14847"/>
            <a:stretch/>
          </p:blipFill>
          <p:spPr bwMode="auto">
            <a:xfrm rot="20177390">
              <a:off x="6955941" y="2704652"/>
              <a:ext cx="1641877" cy="4590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69D75118-F0BD-4342-BD0B-9A5D4A449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20346979">
              <a:off x="4308658" y="5170312"/>
              <a:ext cx="404501" cy="370223"/>
            </a:xfrm>
            <a:prstGeom prst="rect">
              <a:avLst/>
            </a:prstGeom>
          </p:spPr>
        </p:pic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E3F212DC-3847-436F-B665-83584AF0F1A9}"/>
                </a:ext>
              </a:extLst>
            </p:cNvPr>
            <p:cNvSpPr txBox="1"/>
            <p:nvPr/>
          </p:nvSpPr>
          <p:spPr>
            <a:xfrm rot="20358458">
              <a:off x="3436399" y="2697625"/>
              <a:ext cx="6690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000</a:t>
              </a:r>
            </a:p>
          </p:txBody>
        </p:sp>
        <p:pic>
          <p:nvPicPr>
            <p:cNvPr id="19" name="Picture 2" descr="Výsledek obrázku pro harmonized symbols medical devices single use">
              <a:extLst>
                <a:ext uri="{FF2B5EF4-FFF2-40B4-BE49-F238E27FC236}">
                  <a16:creationId xmlns:a16="http://schemas.microsoft.com/office/drawing/2014/main" id="{F1602F80-1797-461A-86A9-27C79A9229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158427">
              <a:off x="6527864" y="3222047"/>
              <a:ext cx="358152" cy="3496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B8AF01F0-67BF-4DA2-A02D-60FB74E68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20328731">
              <a:off x="6022093" y="4068536"/>
              <a:ext cx="285827" cy="442349"/>
            </a:xfrm>
            <a:prstGeom prst="rect">
              <a:avLst/>
            </a:prstGeom>
          </p:spPr>
        </p:pic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1E531770-634B-4AC2-9FDB-3915AD77C5E4}"/>
                </a:ext>
              </a:extLst>
            </p:cNvPr>
            <p:cNvSpPr txBox="1"/>
            <p:nvPr/>
          </p:nvSpPr>
          <p:spPr>
            <a:xfrm rot="20092305">
              <a:off x="6087226" y="3686506"/>
              <a:ext cx="21640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 °C – 45 °C</a:t>
              </a:r>
            </a:p>
          </p:txBody>
        </p:sp>
        <p:pic>
          <p:nvPicPr>
            <p:cNvPr id="8" name="Grafický objekt 7">
              <a:extLst>
                <a:ext uri="{FF2B5EF4-FFF2-40B4-BE49-F238E27FC236}">
                  <a16:creationId xmlns:a16="http://schemas.microsoft.com/office/drawing/2014/main" id="{7B20BD68-5384-46A5-8B54-88A81F4BA0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20103733">
              <a:off x="6066495" y="3483467"/>
              <a:ext cx="409151" cy="300471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A094A794-C360-4AA3-BEBF-CB356179E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20199011">
              <a:off x="6204300" y="4423624"/>
              <a:ext cx="776733" cy="258911"/>
            </a:xfrm>
            <a:prstGeom prst="rect">
              <a:avLst/>
            </a:prstGeom>
          </p:spPr>
        </p:pic>
        <p:sp>
          <p:nvSpPr>
            <p:cNvPr id="25" name="TextovéPole 24">
              <a:extLst>
                <a:ext uri="{FF2B5EF4-FFF2-40B4-BE49-F238E27FC236}">
                  <a16:creationId xmlns:a16="http://schemas.microsoft.com/office/drawing/2014/main" id="{399F3333-8E6A-43DA-950F-8181BEA4E79E}"/>
                </a:ext>
              </a:extLst>
            </p:cNvPr>
            <p:cNvSpPr txBox="1"/>
            <p:nvPr/>
          </p:nvSpPr>
          <p:spPr>
            <a:xfrm rot="20204036">
              <a:off x="6805923" y="3760447"/>
              <a:ext cx="1715908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ÁSTUPCE s.r.o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Zástupční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36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62 00 Zastupitel, ČR</a:t>
              </a:r>
            </a:p>
          </p:txBody>
        </p:sp>
        <p:sp>
          <p:nvSpPr>
            <p:cNvPr id="26" name="TextovéPole 25">
              <a:extLst>
                <a:ext uri="{FF2B5EF4-FFF2-40B4-BE49-F238E27FC236}">
                  <a16:creationId xmlns:a16="http://schemas.microsoft.com/office/drawing/2014/main" id="{575663ED-4C0F-4C62-8721-5C9B78A916F7}"/>
                </a:ext>
              </a:extLst>
            </p:cNvPr>
            <p:cNvSpPr txBox="1"/>
            <p:nvPr/>
          </p:nvSpPr>
          <p:spPr>
            <a:xfrm rot="20179284">
              <a:off x="4630568" y="4728301"/>
              <a:ext cx="216409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19-06-48978</a:t>
              </a:r>
            </a:p>
          </p:txBody>
        </p:sp>
        <p:pic>
          <p:nvPicPr>
            <p:cNvPr id="27" name="Picture 2" descr="Use of Symbols to Indicate Compliance with the MDR">
              <a:extLst>
                <a:ext uri="{FF2B5EF4-FFF2-40B4-BE49-F238E27FC236}">
                  <a16:creationId xmlns:a16="http://schemas.microsoft.com/office/drawing/2014/main" id="{190C2C72-E8CE-4A35-8D75-7392903227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9615" b="89904" l="9615" r="92308">
                          <a14:foregroundMark x1="75962" y1="59135" x2="75962" y2="59135"/>
                          <a14:foregroundMark x1="92308" y1="73558" x2="92308" y2="7355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190982">
              <a:off x="3514921" y="3866921"/>
              <a:ext cx="517328" cy="517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" descr="IFA-Datenbank und IFA-Informationsdienste">
              <a:extLst>
                <a:ext uri="{FF2B5EF4-FFF2-40B4-BE49-F238E27FC236}">
                  <a16:creationId xmlns:a16="http://schemas.microsoft.com/office/drawing/2014/main" id="{06BF06F3-48B0-4D02-AD5B-4F358389AB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29047">
              <a:off x="7293458" y="2583327"/>
              <a:ext cx="383757" cy="2444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" descr="Importer">
              <a:extLst>
                <a:ext uri="{FF2B5EF4-FFF2-40B4-BE49-F238E27FC236}">
                  <a16:creationId xmlns:a16="http://schemas.microsoft.com/office/drawing/2014/main" id="{1189180F-66CD-45DD-AEEE-9E90280053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219780">
              <a:off x="5027336" y="3163397"/>
              <a:ext cx="547495" cy="5474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E3BBF566-FD28-42C3-8AC2-2B68470FE232}"/>
                </a:ext>
              </a:extLst>
            </p:cNvPr>
            <p:cNvSpPr txBox="1"/>
            <p:nvPr/>
          </p:nvSpPr>
          <p:spPr>
            <a:xfrm rot="20204036">
              <a:off x="5477007" y="2767662"/>
              <a:ext cx="1573928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ovozce ČR s.r.o.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ovozní 6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62 00 </a:t>
              </a:r>
              <a:r>
                <a:rPr kumimoji="0" lang="cs-CZ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ovozník</a:t>
              </a:r>
              <a:r>
                <a:rPr kumimoji="0" lang="cs-CZ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ČR</a:t>
              </a:r>
            </a:p>
          </p:txBody>
        </p:sp>
      </p:grpSp>
      <p:pic>
        <p:nvPicPr>
          <p:cNvPr id="32" name="Obrázek 31">
            <a:extLst>
              <a:ext uri="{FF2B5EF4-FFF2-40B4-BE49-F238E27FC236}">
                <a16:creationId xmlns:a16="http://schemas.microsoft.com/office/drawing/2014/main" id="{D597FBB6-C512-55FF-364F-57FA992C4F1C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l="41151" t="32331" r="42447" b="31977"/>
          <a:stretch/>
        </p:blipFill>
        <p:spPr>
          <a:xfrm>
            <a:off x="10951105" y="274543"/>
            <a:ext cx="825624" cy="920503"/>
          </a:xfrm>
          <a:prstGeom prst="rect">
            <a:avLst/>
          </a:prstGeom>
        </p:spPr>
      </p:pic>
      <p:sp>
        <p:nvSpPr>
          <p:cNvPr id="33" name="Zástupný symbol pro číslo snímku 3">
            <a:extLst>
              <a:ext uri="{FF2B5EF4-FFF2-40B4-BE49-F238E27FC236}">
                <a16:creationId xmlns:a16="http://schemas.microsoft.com/office/drawing/2014/main" id="{54026156-26C9-051D-8D70-FA2E48D43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189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FF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 smtClean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FF"/>
                </a:buClr>
                <a:buSzTx/>
                <a:buFontTx/>
                <a:buNone/>
                <a:tabLst/>
                <a:defRPr/>
              </a:pPr>
              <a:t>10</a:t>
            </a:fld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1" name="Tvar L 30">
            <a:extLst>
              <a:ext uri="{FF2B5EF4-FFF2-40B4-BE49-F238E27FC236}">
                <a16:creationId xmlns:a16="http://schemas.microsoft.com/office/drawing/2014/main" id="{A2DAF978-BA4A-9529-FCB4-15F7FD82ACC8}"/>
              </a:ext>
            </a:extLst>
          </p:cNvPr>
          <p:cNvSpPr/>
          <p:nvPr/>
        </p:nvSpPr>
        <p:spPr>
          <a:xfrm>
            <a:off x="6801930" y="1088315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var L 33">
            <a:extLst>
              <a:ext uri="{FF2B5EF4-FFF2-40B4-BE49-F238E27FC236}">
                <a16:creationId xmlns:a16="http://schemas.microsoft.com/office/drawing/2014/main" id="{4B75EDEC-679B-CCA3-1C55-8DE0CD140091}"/>
              </a:ext>
            </a:extLst>
          </p:cNvPr>
          <p:cNvSpPr/>
          <p:nvPr/>
        </p:nvSpPr>
        <p:spPr>
          <a:xfrm rot="10800000">
            <a:off x="246647" y="511739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093B63B-871C-5CB8-5EE3-EA3E9B26BEC4}"/>
              </a:ext>
            </a:extLst>
          </p:cNvPr>
          <p:cNvSpPr txBox="1"/>
          <p:nvPr/>
        </p:nvSpPr>
        <p:spPr>
          <a:xfrm>
            <a:off x="284289" y="1716914"/>
            <a:ext cx="5168087" cy="1304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Návod k použití i obal ZP vždy </a:t>
            </a:r>
            <a:r>
              <a:rPr kumimoji="0" lang="cs-CZ" sz="1800" b="1" i="0" u="sng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 češtině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!</a:t>
            </a: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NE angličtina, NE slovenština</a:t>
            </a:r>
          </a:p>
        </p:txBody>
      </p:sp>
    </p:spTree>
    <p:extLst>
      <p:ext uri="{BB962C8B-B14F-4D97-AF65-F5344CB8AC3E}">
        <p14:creationId xmlns:p14="http://schemas.microsoft.com/office/powerpoint/2010/main" val="351305497"/>
      </p:ext>
    </p:extLst>
  </p:cSld>
  <p:clrMapOvr>
    <a:masterClrMapping/>
  </p:clrMapOvr>
  <p:transition spd="med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číslo snímku 3">
            <a:extLst>
              <a:ext uri="{FF2B5EF4-FFF2-40B4-BE49-F238E27FC236}">
                <a16:creationId xmlns:a16="http://schemas.microsoft.com/office/drawing/2014/main" id="{978E685E-D88E-CE7A-AB1F-749881A5AF15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11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41738E29-92E0-0962-9DF9-D999D055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5657" y="300544"/>
            <a:ext cx="11362063" cy="751127"/>
          </a:xfrm>
        </p:spPr>
        <p:txBody>
          <a:bodyPr>
            <a:normAutofit/>
          </a:bodyPr>
          <a:lstStyle/>
          <a:p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EUDAMED – </a:t>
            </a:r>
            <a:r>
              <a:rPr lang="sk-SK" sz="32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původní</a:t>
            </a:r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stav</a:t>
            </a:r>
          </a:p>
        </p:txBody>
      </p:sp>
      <p:pic>
        <p:nvPicPr>
          <p:cNvPr id="4" name="Obrázek 3" descr="Obsah obrázku text, snímek obrazovky, software, Webová stránka&#10;&#10;Popis byl vytvořen automaticky">
            <a:extLst>
              <a:ext uri="{FF2B5EF4-FFF2-40B4-BE49-F238E27FC236}">
                <a16:creationId xmlns:a16="http://schemas.microsoft.com/office/drawing/2014/main" id="{CFDBBA2B-D99D-0DD5-6112-959A0F3458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" r="1331" b="1449"/>
          <a:stretch/>
        </p:blipFill>
        <p:spPr>
          <a:xfrm>
            <a:off x="1048301" y="1231807"/>
            <a:ext cx="9758514" cy="5500419"/>
          </a:xfrm>
          <a:prstGeom prst="rect">
            <a:avLst/>
          </a:prstGeom>
        </p:spPr>
      </p:pic>
      <p:sp>
        <p:nvSpPr>
          <p:cNvPr id="14" name="Tvar L 13">
            <a:extLst>
              <a:ext uri="{FF2B5EF4-FFF2-40B4-BE49-F238E27FC236}">
                <a16:creationId xmlns:a16="http://schemas.microsoft.com/office/drawing/2014/main" id="{8EC73608-D4FA-C431-203E-9514972983B4}"/>
              </a:ext>
            </a:extLst>
          </p:cNvPr>
          <p:cNvSpPr/>
          <p:nvPr/>
        </p:nvSpPr>
        <p:spPr>
          <a:xfrm>
            <a:off x="6503206" y="957720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312A51AA-E475-BD5A-4EE7-9B718BE9C5E0}"/>
              </a:ext>
            </a:extLst>
          </p:cNvPr>
          <p:cNvSpPr/>
          <p:nvPr/>
        </p:nvSpPr>
        <p:spPr>
          <a:xfrm rot="10800000">
            <a:off x="665100" y="264936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D90AA928-665F-11E1-6CAD-31EC26F08B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151" t="32331" r="42447" b="31977"/>
          <a:stretch/>
        </p:blipFill>
        <p:spPr>
          <a:xfrm>
            <a:off x="11114088" y="145711"/>
            <a:ext cx="825624" cy="920502"/>
          </a:xfrm>
          <a:prstGeom prst="rect">
            <a:avLst/>
          </a:prstGeom>
        </p:spPr>
      </p:pic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F7F96CE1-AB25-D013-15DE-FF92E19A4C94}"/>
              </a:ext>
            </a:extLst>
          </p:cNvPr>
          <p:cNvCxnSpPr/>
          <p:nvPr/>
        </p:nvCxnSpPr>
        <p:spPr>
          <a:xfrm flipV="1">
            <a:off x="559557" y="775936"/>
            <a:ext cx="10890915" cy="5682493"/>
          </a:xfrm>
          <a:prstGeom prst="line">
            <a:avLst/>
          </a:prstGeom>
          <a:ln w="79375">
            <a:solidFill>
              <a:srgbClr val="FF0000">
                <a:alpha val="91905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A0B306F6-DD13-9B82-E18B-E3A5B0D960E2}"/>
              </a:ext>
            </a:extLst>
          </p:cNvPr>
          <p:cNvCxnSpPr>
            <a:cxnSpLocks/>
          </p:cNvCxnSpPr>
          <p:nvPr/>
        </p:nvCxnSpPr>
        <p:spPr>
          <a:xfrm flipH="1" flipV="1">
            <a:off x="665100" y="1093958"/>
            <a:ext cx="11123007" cy="5228233"/>
          </a:xfrm>
          <a:prstGeom prst="line">
            <a:avLst/>
          </a:prstGeom>
          <a:ln w="79375">
            <a:solidFill>
              <a:srgbClr val="FF0000">
                <a:alpha val="91905"/>
              </a:srgb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662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číslo snímku 3">
            <a:extLst>
              <a:ext uri="{FF2B5EF4-FFF2-40B4-BE49-F238E27FC236}">
                <a16:creationId xmlns:a16="http://schemas.microsoft.com/office/drawing/2014/main" id="{978E685E-D88E-CE7A-AB1F-749881A5AF15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12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41738E29-92E0-0962-9DF9-D999D055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5657" y="300544"/>
            <a:ext cx="11362063" cy="751127"/>
          </a:xfrm>
        </p:spPr>
        <p:txBody>
          <a:bodyPr>
            <a:normAutofit/>
          </a:bodyPr>
          <a:lstStyle/>
          <a:p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EUDAMED – </a:t>
            </a:r>
            <a:r>
              <a:rPr lang="sk-SK" sz="32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aktuální</a:t>
            </a:r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stav</a:t>
            </a: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8EC73608-D4FA-C431-203E-9514972983B4}"/>
              </a:ext>
            </a:extLst>
          </p:cNvPr>
          <p:cNvSpPr/>
          <p:nvPr/>
        </p:nvSpPr>
        <p:spPr>
          <a:xfrm>
            <a:off x="6096000" y="976123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312A51AA-E475-BD5A-4EE7-9B718BE9C5E0}"/>
              </a:ext>
            </a:extLst>
          </p:cNvPr>
          <p:cNvSpPr/>
          <p:nvPr/>
        </p:nvSpPr>
        <p:spPr>
          <a:xfrm rot="10800000">
            <a:off x="665100" y="264936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D90AA928-665F-11E1-6CAD-31EC26F08B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1114088" y="145711"/>
            <a:ext cx="825624" cy="920502"/>
          </a:xfrm>
          <a:prstGeom prst="rect">
            <a:avLst/>
          </a:prstGeom>
        </p:spPr>
      </p:pic>
      <p:pic>
        <p:nvPicPr>
          <p:cNvPr id="5" name="Obrázek 4" descr="Obsah obrázku text, Obdélník, čtverec, zelené&#10;&#10;Popis byl vytvořen automaticky">
            <a:extLst>
              <a:ext uri="{FF2B5EF4-FFF2-40B4-BE49-F238E27FC236}">
                <a16:creationId xmlns:a16="http://schemas.microsoft.com/office/drawing/2014/main" id="{853E67C7-C574-E731-F8C4-EF923EBE7D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8426" y="4627999"/>
            <a:ext cx="1885662" cy="2230001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B1561549-EA33-497A-A221-41DC0086BA54}"/>
              </a:ext>
            </a:extLst>
          </p:cNvPr>
          <p:cNvSpPr txBox="1"/>
          <p:nvPr/>
        </p:nvSpPr>
        <p:spPr>
          <a:xfrm>
            <a:off x="665100" y="1286942"/>
            <a:ext cx="10103163" cy="5470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tabLst/>
              <a:defRPr/>
            </a:pPr>
            <a:endParaRPr lang="cs-CZ" dirty="0">
              <a:solidFill>
                <a:srgbClr val="414141"/>
              </a:solidFill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řepokládané</a:t>
            </a: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období </a:t>
            </a: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lného</a:t>
            </a: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spuštění </a:t>
            </a:r>
            <a:r>
              <a:rPr lang="cs-CZ" dirty="0" err="1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EUDAMEDu</a:t>
            </a: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</a:t>
            </a: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Q4 2027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tabLst/>
              <a:defRPr/>
            </a:pPr>
            <a:endParaRPr lang="cs-CZ" b="1" dirty="0">
              <a:solidFill>
                <a:srgbClr val="414141"/>
              </a:solidFill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ovinnost registrací do jednotlivých modulů k </a:t>
            </a:r>
            <a:r>
              <a:rPr lang="cs-CZ" b="1" u="sng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Q4 2025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solidFill>
                  <a:srgbClr val="2D9673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ýrobci, dovozci, zplnomocnění zástupci 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solidFill>
                  <a:srgbClr val="2D9673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ZP, IVD - UDI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solidFill>
                  <a:srgbClr val="2D9673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NB, Certifikace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Dozor nad trhem + </a:t>
            </a:r>
            <a:r>
              <a:rPr lang="cs-CZ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igilance</a:t>
            </a:r>
            <a:r>
              <a:rPr lang="cs-CZ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(konec 2024)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r>
              <a:rPr lang="cs-CZ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Klinické zkoušky (Q4 2026)</a:t>
            </a:r>
          </a:p>
          <a:p>
            <a:pPr marL="3028950" lvl="6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  <a:defRPr/>
            </a:pPr>
            <a:endParaRPr lang="cs-CZ" sz="1050" dirty="0">
              <a:solidFill>
                <a:srgbClr val="414141"/>
              </a:solidFill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Uživatelské příručky k </a:t>
            </a:r>
            <a:r>
              <a:rPr lang="cs-CZ" dirty="0" err="1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EUDAMEDu</a:t>
            </a: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na:</a:t>
            </a:r>
          </a:p>
          <a:p>
            <a:pPr marL="742950" lvl="1" indent="-285750" defTabSz="914400">
              <a:lnSpc>
                <a:spcPct val="150000"/>
              </a:lnSpc>
              <a:buClr>
                <a:srgbClr val="2D9673"/>
              </a:buClr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  <a:hlinkClick r:id="rId5"/>
              </a:rPr>
              <a:t>https://webgate.ec.europa.eu/eudamed-help/en/documentation</a:t>
            </a:r>
          </a:p>
          <a:p>
            <a:pPr lvl="1" defTabSz="914400">
              <a:lnSpc>
                <a:spcPct val="150000"/>
              </a:lnSpc>
              <a:buClr>
                <a:srgbClr val="2D9673"/>
              </a:buClr>
            </a:pP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  <a:hlinkClick r:id="rId5"/>
              </a:rPr>
              <a:t>/user-guides---documents-in-pdf-format.html</a:t>
            </a:r>
            <a:r>
              <a:rPr lang="cs-CZ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</a:t>
            </a: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413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8D33388-4132-DF41-9FD8-4382798B9A1C}"/>
              </a:ext>
            </a:extLst>
          </p:cNvPr>
          <p:cNvSpPr txBox="1">
            <a:spLocks/>
          </p:cNvSpPr>
          <p:nvPr/>
        </p:nvSpPr>
        <p:spPr>
          <a:xfrm>
            <a:off x="2131140" y="6373851"/>
            <a:ext cx="7929720" cy="3771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2000" b="1" dirty="0">
                <a:solidFill>
                  <a:schemeClr val="bg1"/>
                </a:solidFill>
              </a:rPr>
              <a:t>4. MDR  - aktuality</a:t>
            </a:r>
            <a:endParaRPr lang="en-US" sz="2000" dirty="0">
              <a:latin typeface="+mn-lt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66946DDC-6348-134B-BC57-C0A691169AD2}"/>
              </a:ext>
            </a:extLst>
          </p:cNvPr>
          <p:cNvSpPr txBox="1">
            <a:spLocks/>
          </p:cNvSpPr>
          <p:nvPr/>
        </p:nvSpPr>
        <p:spPr>
          <a:xfrm>
            <a:off x="726596" y="377199"/>
            <a:ext cx="8237099" cy="6729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24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EUDAMED</a:t>
            </a:r>
            <a:endParaRPr lang="cs-CZ" sz="2400" dirty="0">
              <a:latin typeface="Poppins" pitchFamily="2" charset="0"/>
              <a:cs typeface="Poppins" pitchFamily="2" charset="0"/>
            </a:endParaRPr>
          </a:p>
        </p:txBody>
      </p:sp>
      <p:sp>
        <p:nvSpPr>
          <p:cNvPr id="16" name="Tvar L 15">
            <a:extLst>
              <a:ext uri="{FF2B5EF4-FFF2-40B4-BE49-F238E27FC236}">
                <a16:creationId xmlns:a16="http://schemas.microsoft.com/office/drawing/2014/main" id="{E09DB204-A795-3E43-A90C-BC1BC7BABD57}"/>
              </a:ext>
            </a:extLst>
          </p:cNvPr>
          <p:cNvSpPr/>
          <p:nvPr/>
        </p:nvSpPr>
        <p:spPr>
          <a:xfrm>
            <a:off x="1581864" y="849625"/>
            <a:ext cx="1314450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var L 16">
            <a:extLst>
              <a:ext uri="{FF2B5EF4-FFF2-40B4-BE49-F238E27FC236}">
                <a16:creationId xmlns:a16="http://schemas.microsoft.com/office/drawing/2014/main" id="{CC1847D1-54C3-A241-B31F-DD889408FCAE}"/>
              </a:ext>
            </a:extLst>
          </p:cNvPr>
          <p:cNvSpPr/>
          <p:nvPr/>
        </p:nvSpPr>
        <p:spPr>
          <a:xfrm rot="10800000">
            <a:off x="413998" y="230883"/>
            <a:ext cx="1313822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F6282EAE-0917-464A-ACE4-3C55EDB91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2378" y="210133"/>
            <a:ext cx="825624" cy="920502"/>
          </a:xfrm>
          <a:prstGeom prst="rect">
            <a:avLst/>
          </a:prstGeom>
        </p:spPr>
      </p:pic>
      <p:sp>
        <p:nvSpPr>
          <p:cNvPr id="14" name="Zástupný symbol pro číslo snímku 3">
            <a:extLst>
              <a:ext uri="{FF2B5EF4-FFF2-40B4-BE49-F238E27FC236}">
                <a16:creationId xmlns:a16="http://schemas.microsoft.com/office/drawing/2014/main" id="{38752D5B-B094-8392-EE24-1DF00D3BB546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>
                <a:solidFill>
                  <a:srgbClr val="2D9673"/>
                </a:solidFill>
              </a:rPr>
              <a:pPr>
                <a:buClr>
                  <a:schemeClr val="tx2"/>
                </a:buClr>
              </a:pPr>
              <a:t>13</a:t>
            </a:fld>
            <a:endParaRPr lang="cs-CZ" dirty="0">
              <a:solidFill>
                <a:srgbClr val="2D9673"/>
              </a:solidFill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1710977B-15CF-4C9F-9FEE-5FC560A645C5}"/>
              </a:ext>
            </a:extLst>
          </p:cNvPr>
          <p:cNvSpPr txBox="1"/>
          <p:nvPr/>
        </p:nvSpPr>
        <p:spPr>
          <a:xfrm>
            <a:off x="524450" y="1312195"/>
            <a:ext cx="11253552" cy="52591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r>
              <a:rPr lang="cs-CZ" sz="1700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Co kontrolovat v rámci </a:t>
            </a:r>
            <a:r>
              <a:rPr lang="cs-CZ" sz="1700" b="1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EUDAMED</a:t>
            </a:r>
            <a:r>
              <a:rPr lang="cs-CZ" sz="1700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?</a:t>
            </a: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r>
              <a:rPr lang="cs-CZ" sz="1700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Pokud nebude uvedena ČR – SÚKL bude vyžadovat po subjektu </a:t>
            </a:r>
            <a:r>
              <a:rPr lang="cs-CZ" sz="1700" b="1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splnění článku 16 (v ČR 0 subjektů)</a:t>
            </a:r>
          </a:p>
        </p:txBody>
      </p:sp>
      <p:pic>
        <p:nvPicPr>
          <p:cNvPr id="3" name="Obrázek 2" descr="Obsah obrázku text, snímek obrazovky, účtenka, Písmo&#10;&#10;Popis byl vytvořen automaticky">
            <a:extLst>
              <a:ext uri="{FF2B5EF4-FFF2-40B4-BE49-F238E27FC236}">
                <a16:creationId xmlns:a16="http://schemas.microsoft.com/office/drawing/2014/main" id="{1E936300-2D93-0FEC-D554-006800A002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7820" y="2206553"/>
            <a:ext cx="7772400" cy="3617121"/>
          </a:xfrm>
          <a:prstGeom prst="rect">
            <a:avLst/>
          </a:prstGeom>
        </p:spPr>
      </p:pic>
      <p:sp>
        <p:nvSpPr>
          <p:cNvPr id="4" name="Ovál 3">
            <a:extLst>
              <a:ext uri="{FF2B5EF4-FFF2-40B4-BE49-F238E27FC236}">
                <a16:creationId xmlns:a16="http://schemas.microsoft.com/office/drawing/2014/main" id="{AC642820-09F5-B254-2364-3DF683DCC27C}"/>
              </a:ext>
            </a:extLst>
          </p:cNvPr>
          <p:cNvSpPr/>
          <p:nvPr/>
        </p:nvSpPr>
        <p:spPr>
          <a:xfrm>
            <a:off x="4413264" y="5038249"/>
            <a:ext cx="651800" cy="3525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056526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číslo snímku 3">
            <a:extLst>
              <a:ext uri="{FF2B5EF4-FFF2-40B4-BE49-F238E27FC236}">
                <a16:creationId xmlns:a16="http://schemas.microsoft.com/office/drawing/2014/main" id="{978E685E-D88E-CE7A-AB1F-749881A5AF15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14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41738E29-92E0-0962-9DF9-D999D055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741" y="445483"/>
            <a:ext cx="11362063" cy="751127"/>
          </a:xfrm>
        </p:spPr>
        <p:txBody>
          <a:bodyPr>
            <a:normAutofit/>
          </a:bodyPr>
          <a:lstStyle/>
          <a:p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ISZP </a:t>
            </a:r>
            <a:r>
              <a:rPr lang="sk-SK" sz="32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vs</a:t>
            </a:r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RZPRO</a:t>
            </a: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8EC73608-D4FA-C431-203E-9514972983B4}"/>
              </a:ext>
            </a:extLst>
          </p:cNvPr>
          <p:cNvSpPr/>
          <p:nvPr/>
        </p:nvSpPr>
        <p:spPr>
          <a:xfrm>
            <a:off x="3159405" y="959004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312A51AA-E475-BD5A-4EE7-9B718BE9C5E0}"/>
              </a:ext>
            </a:extLst>
          </p:cNvPr>
          <p:cNvSpPr/>
          <p:nvPr/>
        </p:nvSpPr>
        <p:spPr>
          <a:xfrm rot="10800000">
            <a:off x="445298" y="261997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Válec 5">
            <a:extLst>
              <a:ext uri="{FF2B5EF4-FFF2-40B4-BE49-F238E27FC236}">
                <a16:creationId xmlns:a16="http://schemas.microsoft.com/office/drawing/2014/main" id="{2F83583C-6AD8-F915-F135-FA47076B5B45}"/>
              </a:ext>
            </a:extLst>
          </p:cNvPr>
          <p:cNvSpPr/>
          <p:nvPr/>
        </p:nvSpPr>
        <p:spPr>
          <a:xfrm>
            <a:off x="1416878" y="1592619"/>
            <a:ext cx="3774553" cy="4865810"/>
          </a:xfrm>
          <a:prstGeom prst="can">
            <a:avLst>
              <a:gd name="adj" fmla="val 27961"/>
            </a:avLst>
          </a:prstGeom>
          <a:solidFill>
            <a:srgbClr val="2D9673">
              <a:alpha val="6227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aoblený obdélník 6">
            <a:extLst>
              <a:ext uri="{FF2B5EF4-FFF2-40B4-BE49-F238E27FC236}">
                <a16:creationId xmlns:a16="http://schemas.microsoft.com/office/drawing/2014/main" id="{16D45F82-3F4F-56E8-7BB8-C125EBD0492F}"/>
              </a:ext>
            </a:extLst>
          </p:cNvPr>
          <p:cNvSpPr/>
          <p:nvPr/>
        </p:nvSpPr>
        <p:spPr>
          <a:xfrm>
            <a:off x="1006836" y="2515315"/>
            <a:ext cx="4461868" cy="3849330"/>
          </a:xfrm>
          <a:prstGeom prst="roundRect">
            <a:avLst>
              <a:gd name="adj" fmla="val 25479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rgbClr val="FF0000"/>
                </a:solidFill>
                <a:latin typeface="Poppins" pitchFamily="2" charset="0"/>
                <a:cs typeface="Poppins" pitchFamily="2" charset="0"/>
              </a:rPr>
              <a:t>Distributoři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rgbClr val="FF0000"/>
                </a:solidFill>
                <a:latin typeface="Poppins" pitchFamily="2" charset="0"/>
                <a:cs typeface="Poppins" pitchFamily="2" charset="0"/>
              </a:rPr>
              <a:t>Osoby provádějící servis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Výrobci ZP na zakázku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Úhrady ZP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Jiné klinické zkoušky</a:t>
            </a:r>
          </a:p>
          <a:p>
            <a:pPr marL="285750" indent="-285750" algn="ctr"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Hlášení přebalených/přeznačených ZP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Etické komise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4ECE8C5D-3C2F-6E25-A215-A6669633D33B}"/>
              </a:ext>
            </a:extLst>
          </p:cNvPr>
          <p:cNvSpPr txBox="1"/>
          <p:nvPr/>
        </p:nvSpPr>
        <p:spPr>
          <a:xfrm>
            <a:off x="2557122" y="1836756"/>
            <a:ext cx="14940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>
                <a:latin typeface="Poppins" pitchFamily="2" charset="0"/>
                <a:cs typeface="Poppins" pitchFamily="2" charset="0"/>
              </a:rPr>
              <a:t>ISZP</a:t>
            </a:r>
          </a:p>
        </p:txBody>
      </p:sp>
      <p:sp>
        <p:nvSpPr>
          <p:cNvPr id="33" name="Válec 32">
            <a:extLst>
              <a:ext uri="{FF2B5EF4-FFF2-40B4-BE49-F238E27FC236}">
                <a16:creationId xmlns:a16="http://schemas.microsoft.com/office/drawing/2014/main" id="{6F50CAC4-A8FD-91FF-A20D-C852BF49B898}"/>
              </a:ext>
            </a:extLst>
          </p:cNvPr>
          <p:cNvSpPr/>
          <p:nvPr/>
        </p:nvSpPr>
        <p:spPr>
          <a:xfrm>
            <a:off x="7000569" y="1546707"/>
            <a:ext cx="3774553" cy="4865810"/>
          </a:xfrm>
          <a:prstGeom prst="can">
            <a:avLst>
              <a:gd name="adj" fmla="val 27961"/>
            </a:avLst>
          </a:prstGeom>
          <a:solidFill>
            <a:srgbClr val="86BBC1">
              <a:alpha val="6227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743A24C4-C1CF-618E-1D3F-E6753C7F678E}"/>
              </a:ext>
            </a:extLst>
          </p:cNvPr>
          <p:cNvSpPr txBox="1"/>
          <p:nvPr/>
        </p:nvSpPr>
        <p:spPr>
          <a:xfrm>
            <a:off x="8039665" y="1836756"/>
            <a:ext cx="1696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>
                <a:latin typeface="Poppins" pitchFamily="2" charset="0"/>
                <a:cs typeface="Poppins" pitchFamily="2" charset="0"/>
              </a:rPr>
              <a:t>RZPRO</a:t>
            </a:r>
          </a:p>
        </p:txBody>
      </p:sp>
      <p:sp>
        <p:nvSpPr>
          <p:cNvPr id="35" name="Zaoblený obdélník 34">
            <a:extLst>
              <a:ext uri="{FF2B5EF4-FFF2-40B4-BE49-F238E27FC236}">
                <a16:creationId xmlns:a16="http://schemas.microsoft.com/office/drawing/2014/main" id="{D632B50A-1893-2599-D0A7-A5C6473953E7}"/>
              </a:ext>
            </a:extLst>
          </p:cNvPr>
          <p:cNvSpPr/>
          <p:nvPr/>
        </p:nvSpPr>
        <p:spPr>
          <a:xfrm>
            <a:off x="6656911" y="2421531"/>
            <a:ext cx="4461868" cy="3849330"/>
          </a:xfrm>
          <a:prstGeom prst="roundRect">
            <a:avLst>
              <a:gd name="adj" fmla="val 25479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rgbClr val="FF0000"/>
                </a:solidFill>
                <a:latin typeface="Poppins" pitchFamily="2" charset="0"/>
                <a:cs typeface="Poppins" pitchFamily="2" charset="0"/>
              </a:rPr>
              <a:t>Výrobci ZP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Zplnomocnění zástupci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rgbClr val="FF0000"/>
                </a:solidFill>
                <a:latin typeface="Poppins" pitchFamily="2" charset="0"/>
                <a:cs typeface="Poppins" pitchFamily="2" charset="0"/>
              </a:rPr>
              <a:t>Dovozci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Certifikáty o volném prodeji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Klinické zkoušky</a:t>
            </a:r>
          </a:p>
          <a:p>
            <a:pPr marL="285750" indent="-285750" algn="ctr">
              <a:lnSpc>
                <a:spcPct val="200000"/>
              </a:lnSpc>
              <a:buFont typeface="Wingdings" pitchFamily="2" charset="2"/>
              <a:buChar char="ü"/>
            </a:pPr>
            <a:r>
              <a:rPr lang="cs-CZ" sz="1600" b="1" dirty="0">
                <a:solidFill>
                  <a:schemeClr val="tx1"/>
                </a:solidFill>
                <a:latin typeface="Poppins" pitchFamily="2" charset="0"/>
                <a:cs typeface="Poppins" pitchFamily="2" charset="0"/>
              </a:rPr>
              <a:t>Studie funkční způsobilosti</a:t>
            </a:r>
          </a:p>
        </p:txBody>
      </p:sp>
      <p:pic>
        <p:nvPicPr>
          <p:cNvPr id="36" name="Obrázek 35">
            <a:extLst>
              <a:ext uri="{FF2B5EF4-FFF2-40B4-BE49-F238E27FC236}">
                <a16:creationId xmlns:a16="http://schemas.microsoft.com/office/drawing/2014/main" id="{592FCED4-FF04-A87B-A651-5B14505F77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1105" y="274543"/>
            <a:ext cx="825624" cy="92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04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číslo snímku 3">
            <a:extLst>
              <a:ext uri="{FF2B5EF4-FFF2-40B4-BE49-F238E27FC236}">
                <a16:creationId xmlns:a16="http://schemas.microsoft.com/office/drawing/2014/main" id="{978E685E-D88E-CE7A-AB1F-749881A5AF15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15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41738E29-92E0-0962-9DF9-D999D055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879" y="411837"/>
            <a:ext cx="11362063" cy="751127"/>
          </a:xfrm>
        </p:spPr>
        <p:txBody>
          <a:bodyPr>
            <a:normAutofit/>
          </a:bodyPr>
          <a:lstStyle/>
          <a:p>
            <a:r>
              <a:rPr lang="sk-SK" sz="32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ISZP - osoby</a:t>
            </a: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8EC73608-D4FA-C431-203E-9514972983B4}"/>
              </a:ext>
            </a:extLst>
          </p:cNvPr>
          <p:cNvSpPr/>
          <p:nvPr/>
        </p:nvSpPr>
        <p:spPr>
          <a:xfrm>
            <a:off x="2948883" y="955649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312A51AA-E475-BD5A-4EE7-9B718BE9C5E0}"/>
              </a:ext>
            </a:extLst>
          </p:cNvPr>
          <p:cNvSpPr/>
          <p:nvPr/>
        </p:nvSpPr>
        <p:spPr>
          <a:xfrm rot="10800000">
            <a:off x="445298" y="261997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Obrázek 35">
            <a:extLst>
              <a:ext uri="{FF2B5EF4-FFF2-40B4-BE49-F238E27FC236}">
                <a16:creationId xmlns:a16="http://schemas.microsoft.com/office/drawing/2014/main" id="{592FCED4-FF04-A87B-A651-5B14505F775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1105" y="274543"/>
            <a:ext cx="825624" cy="920502"/>
          </a:xfrm>
          <a:prstGeom prst="rect">
            <a:avLst/>
          </a:prstGeom>
        </p:spPr>
      </p:pic>
      <p:pic>
        <p:nvPicPr>
          <p:cNvPr id="4" name="Obrázek 3" descr="Obsah obrázku text, snímek obrazovky, design&#10;&#10;Popis byl vytvořen automaticky">
            <a:extLst>
              <a:ext uri="{FF2B5EF4-FFF2-40B4-BE49-F238E27FC236}">
                <a16:creationId xmlns:a16="http://schemas.microsoft.com/office/drawing/2014/main" id="{36E3FCBA-79CB-461B-D27F-6461C67DFB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846" y="1459726"/>
            <a:ext cx="11054167" cy="4774118"/>
          </a:xfrm>
          <a:prstGeom prst="rect">
            <a:avLst/>
          </a:prstGeom>
        </p:spPr>
      </p:pic>
      <p:sp>
        <p:nvSpPr>
          <p:cNvPr id="6" name="Ovál 5">
            <a:extLst>
              <a:ext uri="{FF2B5EF4-FFF2-40B4-BE49-F238E27FC236}">
                <a16:creationId xmlns:a16="http://schemas.microsoft.com/office/drawing/2014/main" id="{01A186A1-2EEA-44A2-8963-FCE6C3E93621}"/>
              </a:ext>
            </a:extLst>
          </p:cNvPr>
          <p:cNvSpPr/>
          <p:nvPr/>
        </p:nvSpPr>
        <p:spPr>
          <a:xfrm>
            <a:off x="975879" y="3143113"/>
            <a:ext cx="651800" cy="3525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BB96C805-7A5E-ADBF-0D21-3D89B97E5F45}"/>
              </a:ext>
            </a:extLst>
          </p:cNvPr>
          <p:cNvSpPr/>
          <p:nvPr/>
        </p:nvSpPr>
        <p:spPr>
          <a:xfrm>
            <a:off x="10773542" y="5881304"/>
            <a:ext cx="651800" cy="35254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1060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FC53AA-B450-45CF-8426-F9DAFE4419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FC53AA-B450-45CF-8426-F9DAFE441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7B832614-1D5A-49AD-8E49-55820DE69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740" y="443921"/>
            <a:ext cx="11362063" cy="751127"/>
          </a:xfrm>
        </p:spPr>
        <p:txBody>
          <a:bodyPr vert="horz"/>
          <a:lstStyle/>
          <a:p>
            <a:pPr algn="just">
              <a:lnSpc>
                <a:spcPct val="150000"/>
              </a:lnSpc>
              <a:buClr>
                <a:srgbClr val="2D9673"/>
              </a:buClr>
            </a:pPr>
            <a:r>
              <a:rPr lang="cs-CZ" sz="2800" b="0" dirty="0">
                <a:solidFill>
                  <a:srgbClr val="2D9673"/>
                </a:solidFill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Správná skladovací praxe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6AE5332-B3E5-9EF8-A8D0-7785541A0F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1151" t="32331" r="42447" b="31977"/>
          <a:stretch/>
        </p:blipFill>
        <p:spPr>
          <a:xfrm>
            <a:off x="10951105" y="274543"/>
            <a:ext cx="825624" cy="920503"/>
          </a:xfrm>
          <a:prstGeom prst="rect">
            <a:avLst/>
          </a:prstGeom>
        </p:spPr>
      </p:pic>
      <p:sp>
        <p:nvSpPr>
          <p:cNvPr id="8" name="Zástupný symbol pro číslo snímku 3">
            <a:extLst>
              <a:ext uri="{FF2B5EF4-FFF2-40B4-BE49-F238E27FC236}">
                <a16:creationId xmlns:a16="http://schemas.microsoft.com/office/drawing/2014/main" id="{324ED5D4-9B0D-F5F5-11A7-1F81E027F398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FF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FF"/>
                </a:buClr>
                <a:buSzTx/>
                <a:buFontTx/>
                <a:buNone/>
                <a:tabLst/>
                <a:defRPr/>
              </a:pPr>
              <a:t>16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Tvar L 9">
            <a:extLst>
              <a:ext uri="{FF2B5EF4-FFF2-40B4-BE49-F238E27FC236}">
                <a16:creationId xmlns:a16="http://schemas.microsoft.com/office/drawing/2014/main" id="{815814D1-7003-0430-5CC6-0A247B7A560E}"/>
              </a:ext>
            </a:extLst>
          </p:cNvPr>
          <p:cNvSpPr/>
          <p:nvPr/>
        </p:nvSpPr>
        <p:spPr>
          <a:xfrm>
            <a:off x="4781549" y="1151889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var L 10">
            <a:extLst>
              <a:ext uri="{FF2B5EF4-FFF2-40B4-BE49-F238E27FC236}">
                <a16:creationId xmlns:a16="http://schemas.microsoft.com/office/drawing/2014/main" id="{AC1A0434-9D6E-2C59-031A-6B8C5030A844}"/>
              </a:ext>
            </a:extLst>
          </p:cNvPr>
          <p:cNvSpPr/>
          <p:nvPr/>
        </p:nvSpPr>
        <p:spPr>
          <a:xfrm rot="10800000">
            <a:off x="602846" y="548601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29CFEC29-70D1-0E61-8B78-08376629AF7A}"/>
              </a:ext>
            </a:extLst>
          </p:cNvPr>
          <p:cNvSpPr txBox="1"/>
          <p:nvPr/>
        </p:nvSpPr>
        <p:spPr>
          <a:xfrm>
            <a:off x="602846" y="1297092"/>
            <a:ext cx="10327634" cy="54591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ZP </a:t>
            </a:r>
            <a:r>
              <a:rPr kumimoji="0" lang="cs-CZ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nesmí být vystaven nepříznivým vlivům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 (kontaminaci, poškození, odcizení, znehodnocení nebo záměna), při skladování a přepravě vystavován podmínkám, které neodpovídají podmínkám stanoveným výrobcem </a:t>
            </a:r>
          </a:p>
          <a:p>
            <a:pPr marL="457200" marR="0" lvl="1" indent="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Měření teplo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 (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denní minima a maxim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) – záznam uchovat min. 3 roky</a:t>
            </a:r>
          </a:p>
          <a:p>
            <a:pPr marL="457200" marR="0" lvl="1" indent="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Skladovat nepoužitelné ZP na odděleném a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označeném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 místě</a:t>
            </a:r>
          </a:p>
          <a:p>
            <a:pPr marL="457200" marR="0" lvl="1" indent="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Záznamy o úklidu – 1 rok</a:t>
            </a: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SÚKL považuje za skladovací prostor, kde je ZP uložen 24 hodin a více</a:t>
            </a:r>
          </a:p>
          <a:p>
            <a:pPr marL="800100" marR="0" lvl="1" indent="-342900" algn="just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170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8D33388-4132-DF41-9FD8-4382798B9A1C}"/>
              </a:ext>
            </a:extLst>
          </p:cNvPr>
          <p:cNvSpPr txBox="1">
            <a:spLocks/>
          </p:cNvSpPr>
          <p:nvPr/>
        </p:nvSpPr>
        <p:spPr>
          <a:xfrm>
            <a:off x="2131140" y="6373851"/>
            <a:ext cx="7929720" cy="3771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2000" b="1" dirty="0">
                <a:solidFill>
                  <a:schemeClr val="bg1"/>
                </a:solidFill>
              </a:rPr>
              <a:t>4. MDR  - aktuality</a:t>
            </a:r>
            <a:endParaRPr lang="en-US" sz="2000" dirty="0">
              <a:latin typeface="+mn-lt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66946DDC-6348-134B-BC57-C0A691169AD2}"/>
              </a:ext>
            </a:extLst>
          </p:cNvPr>
          <p:cNvSpPr txBox="1">
            <a:spLocks/>
          </p:cNvSpPr>
          <p:nvPr/>
        </p:nvSpPr>
        <p:spPr>
          <a:xfrm>
            <a:off x="726596" y="377199"/>
            <a:ext cx="8237099" cy="6729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err="1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Shrnutí</a:t>
            </a:r>
            <a:r>
              <a:rPr lang="de-DE" sz="2400" dirty="0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 – </a:t>
            </a:r>
            <a:r>
              <a:rPr lang="de-DE" sz="2400" dirty="0" err="1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checklist</a:t>
            </a:r>
            <a:endParaRPr lang="cs-CZ" sz="2400" dirty="0">
              <a:latin typeface="Poppins" pitchFamily="2" charset="0"/>
              <a:cs typeface="Poppins" pitchFamily="2" charset="0"/>
            </a:endParaRPr>
          </a:p>
        </p:txBody>
      </p:sp>
      <p:sp>
        <p:nvSpPr>
          <p:cNvPr id="16" name="Tvar L 15">
            <a:extLst>
              <a:ext uri="{FF2B5EF4-FFF2-40B4-BE49-F238E27FC236}">
                <a16:creationId xmlns:a16="http://schemas.microsoft.com/office/drawing/2014/main" id="{E09DB204-A795-3E43-A90C-BC1BC7BABD57}"/>
              </a:ext>
            </a:extLst>
          </p:cNvPr>
          <p:cNvSpPr/>
          <p:nvPr/>
        </p:nvSpPr>
        <p:spPr>
          <a:xfrm>
            <a:off x="2874508" y="840228"/>
            <a:ext cx="1314450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var L 16">
            <a:extLst>
              <a:ext uri="{FF2B5EF4-FFF2-40B4-BE49-F238E27FC236}">
                <a16:creationId xmlns:a16="http://schemas.microsoft.com/office/drawing/2014/main" id="{CC1847D1-54C3-A241-B31F-DD889408FCAE}"/>
              </a:ext>
            </a:extLst>
          </p:cNvPr>
          <p:cNvSpPr/>
          <p:nvPr/>
        </p:nvSpPr>
        <p:spPr>
          <a:xfrm rot="10800000">
            <a:off x="413998" y="230883"/>
            <a:ext cx="1313822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F6282EAE-0917-464A-ACE4-3C55EDB91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2378" y="210133"/>
            <a:ext cx="825624" cy="920502"/>
          </a:xfrm>
          <a:prstGeom prst="rect">
            <a:avLst/>
          </a:prstGeom>
        </p:spPr>
      </p:pic>
      <p:sp>
        <p:nvSpPr>
          <p:cNvPr id="14" name="Zástupný symbol pro číslo snímku 3">
            <a:extLst>
              <a:ext uri="{FF2B5EF4-FFF2-40B4-BE49-F238E27FC236}">
                <a16:creationId xmlns:a16="http://schemas.microsoft.com/office/drawing/2014/main" id="{38752D5B-B094-8392-EE24-1DF00D3BB546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>
                <a:solidFill>
                  <a:srgbClr val="2D9673"/>
                </a:solidFill>
              </a:rPr>
              <a:pPr>
                <a:buClr>
                  <a:schemeClr val="tx2"/>
                </a:buClr>
              </a:pPr>
              <a:t>17</a:t>
            </a:fld>
            <a:endParaRPr lang="cs-CZ" dirty="0">
              <a:solidFill>
                <a:srgbClr val="2D9673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EE54116-73FD-C71F-9A37-15DB4E83D3B0}"/>
              </a:ext>
            </a:extLst>
          </p:cNvPr>
          <p:cNvSpPr txBox="1"/>
          <p:nvPr/>
        </p:nvSpPr>
        <p:spPr>
          <a:xfrm>
            <a:off x="413998" y="1146720"/>
            <a:ext cx="11190569" cy="56477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rohlášení o shodě a případně CE certifikát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ydané podle </a:t>
            </a:r>
            <a:r>
              <a:rPr lang="cs-CZ" sz="1600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MDR</a:t>
            </a: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</a:t>
            </a:r>
            <a:r>
              <a:rPr lang="cs-CZ" sz="1600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-&gt; OK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ydané podle </a:t>
            </a:r>
            <a:r>
              <a:rPr lang="cs-CZ" sz="1600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MDD</a:t>
            </a: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</a:t>
            </a:r>
            <a:r>
              <a:rPr lang="cs-CZ" sz="1600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-&gt; </a:t>
            </a: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zkoumat, zda ZP splňuje podmínky pro uvedení na trh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UDI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Návody a označení na obalu ZP v češtině 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Nutné při používání ZP mít k dispozici IFU v češtině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ISZP/EUDAMED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Skladování ZP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Teploty (denní min a max), vlhkost apod., místo pro „nevyhovující“ ZP (archivace 3 roky)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Úklid (archivace 1 rok)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BTK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Oprávněnou osobou + záznamy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b="1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Instruktáže u ZP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1600" dirty="0">
                <a:solidFill>
                  <a:srgbClr val="414141"/>
                </a:solidFill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Oprávněnou osobou (archivace ještě min. 1 rok po vyřazení ZP)</a:t>
            </a:r>
          </a:p>
        </p:txBody>
      </p:sp>
    </p:spTree>
    <p:extLst>
      <p:ext uri="{BB962C8B-B14F-4D97-AF65-F5344CB8AC3E}">
        <p14:creationId xmlns:p14="http://schemas.microsoft.com/office/powerpoint/2010/main" val="18734332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88D33388-4132-DF41-9FD8-4382798B9A1C}"/>
              </a:ext>
            </a:extLst>
          </p:cNvPr>
          <p:cNvSpPr txBox="1">
            <a:spLocks/>
          </p:cNvSpPr>
          <p:nvPr/>
        </p:nvSpPr>
        <p:spPr>
          <a:xfrm>
            <a:off x="2131140" y="6373851"/>
            <a:ext cx="7929720" cy="3771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2000" b="1" dirty="0">
                <a:solidFill>
                  <a:schemeClr val="bg1"/>
                </a:solidFill>
              </a:rPr>
              <a:t>4. MDR  - aktuality</a:t>
            </a:r>
            <a:endParaRPr lang="en-US" sz="2000" dirty="0">
              <a:latin typeface="+mn-lt"/>
            </a:endParaRPr>
          </a:p>
        </p:txBody>
      </p:sp>
      <p:sp>
        <p:nvSpPr>
          <p:cNvPr id="15" name="Nadpis 5">
            <a:extLst>
              <a:ext uri="{FF2B5EF4-FFF2-40B4-BE49-F238E27FC236}">
                <a16:creationId xmlns:a16="http://schemas.microsoft.com/office/drawing/2014/main" id="{66946DDC-6348-134B-BC57-C0A691169AD2}"/>
              </a:ext>
            </a:extLst>
          </p:cNvPr>
          <p:cNvSpPr txBox="1">
            <a:spLocks/>
          </p:cNvSpPr>
          <p:nvPr/>
        </p:nvSpPr>
        <p:spPr>
          <a:xfrm>
            <a:off x="726596" y="377199"/>
            <a:ext cx="8237099" cy="6729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err="1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Pochybení</a:t>
            </a:r>
            <a:r>
              <a:rPr lang="de-DE" sz="2400" dirty="0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 – </a:t>
            </a:r>
            <a:r>
              <a:rPr lang="de-DE" sz="2400" dirty="0" err="1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kolik</a:t>
            </a:r>
            <a:r>
              <a:rPr lang="de-DE" sz="2400" dirty="0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 </a:t>
            </a:r>
            <a:r>
              <a:rPr lang="de-DE" sz="2400" dirty="0" err="1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stojí</a:t>
            </a:r>
            <a:r>
              <a:rPr lang="de-DE" sz="2400" dirty="0">
                <a:solidFill>
                  <a:srgbClr val="2C956E"/>
                </a:solidFill>
                <a:latin typeface="Poppins" pitchFamily="2" charset="0"/>
                <a:ea typeface="+mn-ea"/>
                <a:cs typeface="Poppins" pitchFamily="2" charset="0"/>
              </a:rPr>
              <a:t>?</a:t>
            </a:r>
            <a:endParaRPr lang="cs-CZ" sz="2400" dirty="0">
              <a:latin typeface="Poppins" pitchFamily="2" charset="0"/>
              <a:cs typeface="Poppins" pitchFamily="2" charset="0"/>
            </a:endParaRPr>
          </a:p>
        </p:txBody>
      </p:sp>
      <p:sp>
        <p:nvSpPr>
          <p:cNvPr id="16" name="Tvar L 15">
            <a:extLst>
              <a:ext uri="{FF2B5EF4-FFF2-40B4-BE49-F238E27FC236}">
                <a16:creationId xmlns:a16="http://schemas.microsoft.com/office/drawing/2014/main" id="{E09DB204-A795-3E43-A90C-BC1BC7BABD57}"/>
              </a:ext>
            </a:extLst>
          </p:cNvPr>
          <p:cNvSpPr/>
          <p:nvPr/>
        </p:nvSpPr>
        <p:spPr>
          <a:xfrm>
            <a:off x="3530695" y="839525"/>
            <a:ext cx="1314450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7" name="Tvar L 16">
            <a:extLst>
              <a:ext uri="{FF2B5EF4-FFF2-40B4-BE49-F238E27FC236}">
                <a16:creationId xmlns:a16="http://schemas.microsoft.com/office/drawing/2014/main" id="{CC1847D1-54C3-A241-B31F-DD889408FCAE}"/>
              </a:ext>
            </a:extLst>
          </p:cNvPr>
          <p:cNvSpPr/>
          <p:nvPr/>
        </p:nvSpPr>
        <p:spPr>
          <a:xfrm rot="10800000">
            <a:off x="413998" y="230883"/>
            <a:ext cx="1313822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F6282EAE-0917-464A-ACE4-3C55EDB91C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2378" y="210133"/>
            <a:ext cx="825624" cy="920502"/>
          </a:xfrm>
          <a:prstGeom prst="rect">
            <a:avLst/>
          </a:prstGeom>
        </p:spPr>
      </p:pic>
      <p:sp>
        <p:nvSpPr>
          <p:cNvPr id="14" name="Zástupný symbol pro číslo snímku 3">
            <a:extLst>
              <a:ext uri="{FF2B5EF4-FFF2-40B4-BE49-F238E27FC236}">
                <a16:creationId xmlns:a16="http://schemas.microsoft.com/office/drawing/2014/main" id="{38752D5B-B094-8392-EE24-1DF00D3BB546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>
                <a:solidFill>
                  <a:srgbClr val="2D9673"/>
                </a:solidFill>
              </a:rPr>
              <a:pPr>
                <a:buClr>
                  <a:schemeClr val="tx2"/>
                </a:buClr>
              </a:pPr>
              <a:t>18</a:t>
            </a:fld>
            <a:endParaRPr lang="cs-CZ" dirty="0">
              <a:solidFill>
                <a:srgbClr val="2D9673"/>
              </a:solidFill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1710977B-15CF-4C9F-9FEE-5FC560A645C5}"/>
              </a:ext>
            </a:extLst>
          </p:cNvPr>
          <p:cNvSpPr txBox="1"/>
          <p:nvPr/>
        </p:nvSpPr>
        <p:spPr>
          <a:xfrm>
            <a:off x="634902" y="1114547"/>
            <a:ext cx="11143100" cy="4735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r>
              <a:rPr lang="cs-CZ" dirty="0"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Sankční tabulka vybraných „prohřešků“</a:t>
            </a: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  <a:p>
            <a:pPr marL="285750" indent="-285750">
              <a:lnSpc>
                <a:spcPct val="200000"/>
              </a:lnSpc>
              <a:buClr>
                <a:srgbClr val="6FA592"/>
              </a:buClr>
              <a:buFont typeface="Wingdings" panose="05000000000000000000" pitchFamily="2" charset="2"/>
              <a:buChar char="Ø"/>
            </a:pPr>
            <a:endParaRPr lang="cs-CZ" sz="1700" dirty="0">
              <a:latin typeface="Poppins" pitchFamily="2" charset="0"/>
              <a:ea typeface="Tahoma" panose="020B0604030504040204" pitchFamily="34" charset="0"/>
              <a:cs typeface="Poppins" pitchFamily="2" charset="0"/>
            </a:endParaRP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0DE222A0-6960-5AF2-35C7-AE70B3B3C98E}"/>
              </a:ext>
            </a:extLst>
          </p:cNvPr>
          <p:cNvGraphicFramePr>
            <a:graphicFrameLocks noGrp="1"/>
          </p:cNvGraphicFramePr>
          <p:nvPr/>
        </p:nvGraphicFramePr>
        <p:xfrm>
          <a:off x="1197033" y="1800203"/>
          <a:ext cx="9829278" cy="457364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7353423">
                  <a:extLst>
                    <a:ext uri="{9D8B030D-6E8A-4147-A177-3AD203B41FA5}">
                      <a16:colId xmlns:a16="http://schemas.microsoft.com/office/drawing/2014/main" val="4064657413"/>
                    </a:ext>
                  </a:extLst>
                </a:gridCol>
                <a:gridCol w="2475855">
                  <a:extLst>
                    <a:ext uri="{9D8B030D-6E8A-4147-A177-3AD203B41FA5}">
                      <a16:colId xmlns:a16="http://schemas.microsoft.com/office/drawing/2014/main" val="2211421175"/>
                    </a:ext>
                  </a:extLst>
                </a:gridCol>
              </a:tblGrid>
              <a:tr h="571706">
                <a:tc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latin typeface="Poppins" pitchFamily="2" charset="0"/>
                          <a:cs typeface="Poppins" pitchFamily="2" charset="0"/>
                        </a:rPr>
                        <a:t>Porušení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67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>
                          <a:latin typeface="Poppins" pitchFamily="2" charset="0"/>
                          <a:cs typeface="Poppins" pitchFamily="2" charset="0"/>
                        </a:rPr>
                        <a:t>Možná sankc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6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506984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Použití ZP, který nebyl uveden na trh v souladu s MDR</a:t>
                      </a:r>
                      <a:endParaRPr lang="cs-CZ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160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cs-CZ" sz="18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5 000 000,- Kč</a:t>
                      </a:r>
                      <a:endParaRPr lang="cs-CZ" b="1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179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383677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Porušení správné skladovací praxe</a:t>
                      </a:r>
                      <a:endParaRPr lang="cs-CZ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7884221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Neuchovávání UDI</a:t>
                      </a:r>
                      <a:endParaRPr lang="cs-CZ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16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922315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Nezajištění správného provedení servisu ZP</a:t>
                      </a:r>
                      <a:endParaRPr lang="cs-CZ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673">
                        <a:alpha val="33088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latin typeface="Poppins" pitchFamily="2" charset="0"/>
                          <a:cs typeface="Poppins" pitchFamily="2" charset="0"/>
                        </a:rPr>
                        <a:t>2 000 000,- Kč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673">
                        <a:alpha val="3312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4737441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dirty="0">
                          <a:latin typeface="Poppins" pitchFamily="2" charset="0"/>
                          <a:cs typeface="Poppins" pitchFamily="2" charset="0"/>
                        </a:rPr>
                        <a:t>Nevedení dokumentace ZP - instruktáží a BTK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9673">
                        <a:alpha val="3300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4447253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Nezaznamenání ve zdravotnické dokumentaci použití ZP </a:t>
                      </a:r>
                      <a:r>
                        <a:rPr lang="cs-CZ" sz="1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IIb</a:t>
                      </a:r>
                      <a:r>
                        <a:rPr lang="cs-CZ" sz="1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Poppins" pitchFamily="2" charset="0"/>
                          <a:cs typeface="Poppins" pitchFamily="2" charset="0"/>
                        </a:rPr>
                        <a:t>/III</a:t>
                      </a:r>
                      <a:endParaRPr lang="cs-CZ" dirty="0">
                        <a:latin typeface="Poppins" pitchFamily="2" charset="0"/>
                        <a:cs typeface="Poppins" pitchFamily="2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000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cs-CZ" b="1" dirty="0">
                          <a:latin typeface="Poppins" pitchFamily="2" charset="0"/>
                          <a:cs typeface="Poppins" pitchFamily="2" charset="0"/>
                        </a:rPr>
                        <a:t>500 000,- Kč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5934687"/>
                  </a:ext>
                </a:extLst>
              </a:tr>
              <a:tr h="571706">
                <a:tc>
                  <a:txBody>
                    <a:bodyPr/>
                    <a:lstStyle/>
                    <a:p>
                      <a:r>
                        <a:rPr lang="cs-CZ" dirty="0">
                          <a:latin typeface="Poppins" pitchFamily="2" charset="0"/>
                          <a:cs typeface="Poppins" pitchFamily="2" charset="0"/>
                        </a:rPr>
                        <a:t>Nezajištění českého IFU osobě poskytující zdrav. službu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BBC1">
                        <a:alpha val="50160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1235237"/>
                  </a:ext>
                </a:extLst>
              </a:tr>
            </a:tbl>
          </a:graphicData>
        </a:graphic>
      </p:graphicFrame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C7CA50BE-2B09-C71B-F6A9-5547B357A268}"/>
              </a:ext>
            </a:extLst>
          </p:cNvPr>
          <p:cNvGraphicFramePr>
            <a:graphicFrameLocks noGrp="1"/>
          </p:cNvGraphicFramePr>
          <p:nvPr/>
        </p:nvGraphicFramePr>
        <p:xfrm>
          <a:off x="11089178" y="2377440"/>
          <a:ext cx="208280" cy="1512916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1216837915"/>
                    </a:ext>
                  </a:extLst>
                </a:gridCol>
              </a:tblGrid>
              <a:tr h="1512916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6424091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3C6E3E80-F7C0-8EC8-2450-6F8B0710A0D7}"/>
              </a:ext>
            </a:extLst>
          </p:cNvPr>
          <p:cNvGraphicFramePr>
            <a:graphicFrameLocks noGrp="1"/>
          </p:cNvGraphicFramePr>
          <p:nvPr/>
        </p:nvGraphicFramePr>
        <p:xfrm>
          <a:off x="1197033" y="3241964"/>
          <a:ext cx="208280" cy="3225338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3679703660"/>
                    </a:ext>
                  </a:extLst>
                </a:gridCol>
              </a:tblGrid>
              <a:tr h="3225338">
                <a:tc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30317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7003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2000">
              <a:srgbClr val="2D9673"/>
            </a:gs>
            <a:gs pos="66000">
              <a:schemeClr val="bg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DCB4500-821A-44C1-B1DE-AEF7AB6441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DCB4500-821A-44C1-B1DE-AEF7AB644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el 16">
            <a:extLst>
              <a:ext uri="{FF2B5EF4-FFF2-40B4-BE49-F238E27FC236}">
                <a16:creationId xmlns:a16="http://schemas.microsoft.com/office/drawing/2014/main" id="{B8CEC052-AA50-B549-9BAD-7C84646202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188" y="492323"/>
            <a:ext cx="7674681" cy="2460480"/>
          </a:xfrm>
        </p:spPr>
        <p:txBody>
          <a:bodyPr vert="horz"/>
          <a:lstStyle/>
          <a:p>
            <a:r>
              <a:rPr lang="cs-CZ" dirty="0">
                <a:latin typeface="Poppins" pitchFamily="2" charset="0"/>
                <a:cs typeface="Poppins" pitchFamily="2" charset="0"/>
              </a:rPr>
              <a:t>Děkuji za pozornost</a:t>
            </a:r>
            <a:endParaRPr lang="en-US" dirty="0">
              <a:latin typeface="Poppins" pitchFamily="2" charset="0"/>
              <a:cs typeface="Poppins" pitchFamily="2" charset="0"/>
            </a:endParaRPr>
          </a:p>
        </p:txBody>
      </p:sp>
      <p:sp>
        <p:nvSpPr>
          <p:cNvPr id="18" name="Untertitel 17">
            <a:extLst>
              <a:ext uri="{FF2B5EF4-FFF2-40B4-BE49-F238E27FC236}">
                <a16:creationId xmlns:a16="http://schemas.microsoft.com/office/drawing/2014/main" id="{49553917-FB56-2641-B67D-5FF30943DB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3704" y="3909986"/>
            <a:ext cx="5323681" cy="1274401"/>
          </a:xfrm>
        </p:spPr>
        <p:txBody>
          <a:bodyPr/>
          <a:lstStyle/>
          <a:p>
            <a:r>
              <a:rPr lang="en-US" dirty="0">
                <a:latin typeface="Poppins" pitchFamily="2" charset="0"/>
                <a:cs typeface="Poppins" pitchFamily="2" charset="0"/>
              </a:rPr>
              <a:t>Mgr. </a:t>
            </a:r>
            <a:r>
              <a:rPr lang="en-US" dirty="0" err="1">
                <a:latin typeface="Poppins" pitchFamily="2" charset="0"/>
                <a:cs typeface="Poppins" pitchFamily="2" charset="0"/>
              </a:rPr>
              <a:t>Jiří</a:t>
            </a:r>
            <a:r>
              <a:rPr lang="en-US" dirty="0">
                <a:latin typeface="Poppins" pitchFamily="2" charset="0"/>
                <a:cs typeface="Poppins" pitchFamily="2" charset="0"/>
              </a:rPr>
              <a:t> </a:t>
            </a:r>
            <a:r>
              <a:rPr lang="en-US" dirty="0" err="1">
                <a:latin typeface="Poppins" pitchFamily="2" charset="0"/>
                <a:cs typeface="Poppins" pitchFamily="2" charset="0"/>
              </a:rPr>
              <a:t>Morávek</a:t>
            </a:r>
            <a:endParaRPr lang="en-US" dirty="0">
              <a:latin typeface="Poppins" pitchFamily="2" charset="0"/>
              <a:cs typeface="Poppins" pitchFamily="2" charset="0"/>
            </a:endParaRPr>
          </a:p>
          <a:p>
            <a:endParaRPr lang="en-US" dirty="0">
              <a:latin typeface="Poppins" pitchFamily="2" charset="0"/>
              <a:cs typeface="Poppins" pitchFamily="2" charset="0"/>
            </a:endParaRPr>
          </a:p>
          <a:p>
            <a:r>
              <a:rPr lang="en-US" dirty="0">
                <a:latin typeface="Poppins" pitchFamily="2" charset="0"/>
                <a:cs typeface="Poppins" pitchFamily="2" charset="0"/>
              </a:rPr>
              <a:t>moravek@mednez.cz</a:t>
            </a:r>
          </a:p>
          <a:p>
            <a:r>
              <a:rPr lang="en-US" dirty="0">
                <a:latin typeface="Poppins" pitchFamily="2" charset="0"/>
                <a:cs typeface="Poppins" pitchFamily="2" charset="0"/>
              </a:rPr>
              <a:t>+420 732 856 763</a:t>
            </a:r>
          </a:p>
          <a:p>
            <a:r>
              <a:rPr lang="en-US" dirty="0" err="1">
                <a:latin typeface="Poppins" pitchFamily="2" charset="0"/>
                <a:cs typeface="Poppins" pitchFamily="2" charset="0"/>
              </a:rPr>
              <a:t>Mednez</a:t>
            </a:r>
            <a:r>
              <a:rPr lang="en-US" dirty="0">
                <a:latin typeface="Poppins" pitchFamily="2" charset="0"/>
                <a:cs typeface="Poppins" pitchFamily="2" charset="0"/>
              </a:rPr>
              <a:t> consult, </a:t>
            </a:r>
            <a:r>
              <a:rPr lang="en-US" dirty="0" err="1">
                <a:latin typeface="Poppins" pitchFamily="2" charset="0"/>
                <a:cs typeface="Poppins" pitchFamily="2" charset="0"/>
              </a:rPr>
              <a:t>s.r.o.</a:t>
            </a:r>
            <a:endParaRPr lang="en-US" dirty="0">
              <a:latin typeface="Poppins" pitchFamily="2" charset="0"/>
              <a:cs typeface="Poppins" pitchFamily="2" charset="0"/>
            </a:endParaRPr>
          </a:p>
          <a:p>
            <a:endParaRPr lang="en-US" dirty="0">
              <a:latin typeface="Poppins" pitchFamily="2" charset="0"/>
              <a:cs typeface="Poppins" pitchFamily="2" charset="0"/>
            </a:endParaRPr>
          </a:p>
          <a:p>
            <a:r>
              <a:rPr lang="en-US" dirty="0" err="1">
                <a:latin typeface="Poppins" pitchFamily="2" charset="0"/>
                <a:cs typeface="Poppins" pitchFamily="2" charset="0"/>
              </a:rPr>
              <a:t>www.mednez.cz</a:t>
            </a:r>
            <a:endParaRPr lang="en-US" dirty="0">
              <a:latin typeface="Poppins" pitchFamily="2" charset="0"/>
              <a:cs typeface="Poppins" pitchFamily="2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FFCB6A8-EB8C-4D4E-B896-EDF215FF8FC2}"/>
              </a:ext>
            </a:extLst>
          </p:cNvPr>
          <p:cNvSpPr txBox="1"/>
          <p:nvPr/>
        </p:nvSpPr>
        <p:spPr>
          <a:xfrm>
            <a:off x="8202440" y="1267485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>
            <a:noAutofit/>
          </a:bodyPr>
          <a:lstStyle/>
          <a:p>
            <a:pPr marL="285744" indent="-285744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dirty="0" err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AFF1C4D-0CEF-D36B-B4B8-FBE118047F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829" t="12901" b="16609"/>
          <a:stretch/>
        </p:blipFill>
        <p:spPr>
          <a:xfrm>
            <a:off x="8225838" y="5494794"/>
            <a:ext cx="3860531" cy="921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459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FC53AA-B450-45CF-8426-F9DAFE4419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1FC53AA-B450-45CF-8426-F9DAFE4419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7B832614-1D5A-49AD-8E49-55820DE69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619" y="407370"/>
            <a:ext cx="11362062" cy="751127"/>
          </a:xfrm>
        </p:spPr>
        <p:txBody>
          <a:bodyPr vert="horz"/>
          <a:lstStyle/>
          <a:p>
            <a:r>
              <a:rPr lang="cs-CZ" sz="28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Dodání na trh   </a:t>
            </a:r>
            <a:r>
              <a:rPr lang="cs-CZ" sz="36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X</a:t>
            </a:r>
            <a:r>
              <a:rPr lang="cs-CZ" sz="28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   uvedení na trh   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81EAEBEE-26A6-35D9-A126-416352A7CC14}"/>
              </a:ext>
            </a:extLst>
          </p:cNvPr>
          <p:cNvSpPr txBox="1"/>
          <p:nvPr/>
        </p:nvSpPr>
        <p:spPr>
          <a:xfrm>
            <a:off x="879231" y="1607155"/>
            <a:ext cx="10897800" cy="46967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2D9673"/>
              </a:buClr>
              <a:buFont typeface="Wingdings" panose="05000000000000000000" pitchFamily="2" charset="2"/>
              <a:buChar char="Ø"/>
            </a:pPr>
            <a:r>
              <a:rPr lang="cs-CZ" sz="2000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</a:t>
            </a:r>
            <a:r>
              <a:rPr lang="cs-CZ" sz="20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Článek 2 odstavec 27 MDR:</a:t>
            </a:r>
          </a:p>
          <a:p>
            <a:pPr marL="800100" lvl="1" indent="-342900">
              <a:lnSpc>
                <a:spcPct val="150000"/>
              </a:lnSpc>
              <a:buClr>
                <a:srgbClr val="2D9673"/>
              </a:buClr>
              <a:buFont typeface="Wingdings" panose="05000000000000000000" pitchFamily="2" charset="2"/>
              <a:buChar char="§"/>
            </a:pPr>
            <a:r>
              <a:rPr lang="cs-CZ" sz="2000" dirty="0">
                <a:latin typeface="Calibri" panose="020F0502020204030204" pitchFamily="34" charset="0"/>
                <a:cs typeface="Calibri" panose="020F0502020204030204" pitchFamily="34" charset="0"/>
              </a:rPr>
              <a:t>„</a:t>
            </a:r>
            <a:r>
              <a:rPr lang="cs-CZ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dodáním na trh“ </a:t>
            </a:r>
            <a:r>
              <a:rPr lang="cs-CZ" b="1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dodání prostředku</a:t>
            </a:r>
            <a:r>
              <a:rPr lang="cs-CZ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s výjimkou prostředku, který je předmětem klinické zkoušky, k distribuci, spotřebě nebo použití na trhu Unie v rámci obchodní činnosti, ať už za </a:t>
            </a:r>
            <a:r>
              <a:rPr lang="cs-CZ" b="1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úplatu nebo bezplatně</a:t>
            </a:r>
            <a:r>
              <a:rPr lang="cs-CZ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;</a:t>
            </a:r>
          </a:p>
          <a:p>
            <a:pPr lvl="1">
              <a:lnSpc>
                <a:spcPct val="150000"/>
              </a:lnSpc>
              <a:buClr>
                <a:srgbClr val="2D9673"/>
              </a:buClr>
            </a:pPr>
            <a:r>
              <a:rPr lang="cs-CZ" i="1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 </a:t>
            </a:r>
          </a:p>
          <a:p>
            <a:pPr marL="285750" indent="-285750">
              <a:lnSpc>
                <a:spcPct val="200000"/>
              </a:lnSpc>
              <a:buClr>
                <a:srgbClr val="2D9673"/>
              </a:buClr>
              <a:buFont typeface="Wingdings" panose="05000000000000000000" pitchFamily="2" charset="2"/>
              <a:buChar char="Ø"/>
            </a:pPr>
            <a:r>
              <a:rPr lang="cs-CZ" sz="2000" dirty="0"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Článek 2 odstavec 28 MDR:</a:t>
            </a:r>
          </a:p>
          <a:p>
            <a:pPr marL="742950" lvl="1" indent="-285750">
              <a:lnSpc>
                <a:spcPct val="150000"/>
              </a:lnSpc>
              <a:buClr>
                <a:srgbClr val="2D9673"/>
              </a:buClr>
              <a:buFont typeface="Wingdings" panose="05000000000000000000" pitchFamily="2" charset="2"/>
              <a:buChar char="§"/>
            </a:pPr>
            <a:r>
              <a:rPr lang="cs-CZ" i="1" dirty="0">
                <a:latin typeface="Calibri" panose="020F0502020204030204" pitchFamily="34" charset="0"/>
                <a:cs typeface="Calibri" panose="020F0502020204030204" pitchFamily="34" charset="0"/>
              </a:rPr>
              <a:t>„uvedením na trh“ </a:t>
            </a:r>
            <a:r>
              <a:rPr lang="cs-CZ" b="1" i="1" dirty="0">
                <a:latin typeface="Calibri" panose="020F0502020204030204" pitchFamily="34" charset="0"/>
                <a:cs typeface="Calibri" panose="020F0502020204030204" pitchFamily="34" charset="0"/>
              </a:rPr>
              <a:t>první dodání </a:t>
            </a:r>
            <a:r>
              <a:rPr lang="cs-CZ" i="1" dirty="0">
                <a:latin typeface="Calibri" panose="020F0502020204030204" pitchFamily="34" charset="0"/>
                <a:cs typeface="Calibri" panose="020F0502020204030204" pitchFamily="34" charset="0"/>
              </a:rPr>
              <a:t>prostředku, s výjimkou prostředku, který je předmětem klinické zkoušky, </a:t>
            </a:r>
            <a:r>
              <a:rPr lang="cs-CZ" b="1" i="1" dirty="0">
                <a:latin typeface="Calibri" panose="020F0502020204030204" pitchFamily="34" charset="0"/>
                <a:cs typeface="Calibri" panose="020F0502020204030204" pitchFamily="34" charset="0"/>
              </a:rPr>
              <a:t>na trh Unie</a:t>
            </a:r>
            <a:r>
              <a:rPr lang="cs-CZ" i="1" dirty="0">
                <a:latin typeface="Calibri" panose="020F0502020204030204" pitchFamily="34" charset="0"/>
                <a:cs typeface="Calibri" panose="020F0502020204030204" pitchFamily="34" charset="0"/>
              </a:rPr>
              <a:t>;“</a:t>
            </a: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endParaRPr lang="cs-CZ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50000"/>
              </a:lnSpc>
              <a:buClr>
                <a:srgbClr val="2D9673"/>
              </a:buClr>
              <a:buFont typeface="Wingdings" pitchFamily="2" charset="2"/>
              <a:buChar char="Ø"/>
            </a:pPr>
            <a:r>
              <a:rPr lang="cs-CZ" sz="2000" dirty="0">
                <a:latin typeface="Calibri" panose="020F0502020204030204" pitchFamily="34" charset="0"/>
                <a:cs typeface="Calibri" panose="020F0502020204030204" pitchFamily="34" charset="0"/>
              </a:rPr>
              <a:t>Na trh </a:t>
            </a:r>
            <a:r>
              <a:rPr lang="cs-CZ" sz="2000" b="1" dirty="0">
                <a:latin typeface="Calibri" panose="020F0502020204030204" pitchFamily="34" charset="0"/>
                <a:cs typeface="Calibri" panose="020F0502020204030204" pitchFamily="34" charset="0"/>
              </a:rPr>
              <a:t>uvádí výrobce usazený v EU </a:t>
            </a:r>
            <a:r>
              <a:rPr lang="cs-CZ" sz="2000" dirty="0">
                <a:latin typeface="Calibri" panose="020F0502020204030204" pitchFamily="34" charset="0"/>
                <a:cs typeface="Calibri" panose="020F0502020204030204" pitchFamily="34" charset="0"/>
              </a:rPr>
              <a:t>nebo </a:t>
            </a:r>
            <a:r>
              <a:rPr lang="cs-CZ" sz="2000" b="1" dirty="0">
                <a:latin typeface="Calibri" panose="020F0502020204030204" pitchFamily="34" charset="0"/>
                <a:cs typeface="Calibri" panose="020F0502020204030204" pitchFamily="34" charset="0"/>
              </a:rPr>
              <a:t>dovozce -&gt; pokud výrobce mimo EU</a:t>
            </a:r>
          </a:p>
          <a:p>
            <a:pPr lvl="1">
              <a:lnSpc>
                <a:spcPct val="150000"/>
              </a:lnSpc>
              <a:buClr>
                <a:srgbClr val="2D9673"/>
              </a:buClr>
            </a:pPr>
            <a:endParaRPr lang="cs-CZ" i="1" dirty="0"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9FA1BF1A-EC1D-5223-8654-7C24B96B9879}"/>
              </a:ext>
            </a:extLst>
          </p:cNvPr>
          <p:cNvSpPr txBox="1"/>
          <p:nvPr/>
        </p:nvSpPr>
        <p:spPr>
          <a:xfrm>
            <a:off x="3535680" y="5730240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70000" indent="-270000" algn="l">
              <a:buClr>
                <a:srgbClr val="0045FF"/>
              </a:buClr>
              <a:buFont typeface="Arial" panose="020B0604020202020204" pitchFamily="34" charset="0"/>
              <a:buChar char="•"/>
            </a:pP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6AE5332-B3E5-9EF8-A8D0-7785541A0F4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1151" t="32331" r="42447" b="31977"/>
          <a:stretch/>
        </p:blipFill>
        <p:spPr>
          <a:xfrm>
            <a:off x="10951105" y="274543"/>
            <a:ext cx="825624" cy="920502"/>
          </a:xfrm>
          <a:prstGeom prst="rect">
            <a:avLst/>
          </a:prstGeom>
        </p:spPr>
      </p:pic>
      <p:sp>
        <p:nvSpPr>
          <p:cNvPr id="8" name="Zástupný symbol pro číslo snímku 3">
            <a:extLst>
              <a:ext uri="{FF2B5EF4-FFF2-40B4-BE49-F238E27FC236}">
                <a16:creationId xmlns:a16="http://schemas.microsoft.com/office/drawing/2014/main" id="{324ED5D4-9B0D-F5F5-11A7-1F81E027F398}"/>
              </a:ext>
            </a:extLst>
          </p:cNvPr>
          <p:cNvSpPr txBox="1">
            <a:spLocks/>
          </p:cNvSpPr>
          <p:nvPr/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 smtClean="0">
                <a:solidFill>
                  <a:srgbClr val="2D9673"/>
                </a:solidFill>
              </a:rPr>
              <a:pPr>
                <a:buClr>
                  <a:schemeClr val="tx2"/>
                </a:buClr>
              </a:pPr>
              <a:t>2</a:t>
            </a:fld>
            <a:endParaRPr lang="cs-CZ" dirty="0">
              <a:solidFill>
                <a:srgbClr val="2D9673"/>
              </a:solidFill>
            </a:endParaRPr>
          </a:p>
        </p:txBody>
      </p:sp>
      <p:sp>
        <p:nvSpPr>
          <p:cNvPr id="2" name="Tvar L 1">
            <a:extLst>
              <a:ext uri="{FF2B5EF4-FFF2-40B4-BE49-F238E27FC236}">
                <a16:creationId xmlns:a16="http://schemas.microsoft.com/office/drawing/2014/main" id="{88FA31C9-04C7-8D3D-14D9-3B794B341E45}"/>
              </a:ext>
            </a:extLst>
          </p:cNvPr>
          <p:cNvSpPr/>
          <p:nvPr/>
        </p:nvSpPr>
        <p:spPr>
          <a:xfrm>
            <a:off x="5670905" y="1092418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4" name="Tvar L 3">
            <a:extLst>
              <a:ext uri="{FF2B5EF4-FFF2-40B4-BE49-F238E27FC236}">
                <a16:creationId xmlns:a16="http://schemas.microsoft.com/office/drawing/2014/main" id="{2C9EA2AC-96B2-F855-76BF-08B842244A7A}"/>
              </a:ext>
            </a:extLst>
          </p:cNvPr>
          <p:cNvSpPr/>
          <p:nvPr/>
        </p:nvSpPr>
        <p:spPr>
          <a:xfrm rot="10800000">
            <a:off x="222319" y="492627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5896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ek 7">
            <a:extLst>
              <a:ext uri="{FF2B5EF4-FFF2-40B4-BE49-F238E27FC236}">
                <a16:creationId xmlns:a16="http://schemas.microsoft.com/office/drawing/2014/main" id="{EB072746-0219-2CEB-2AC6-E0920B892E8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891458" y="437780"/>
            <a:ext cx="825624" cy="920502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3067F91D-4131-B43F-FC9A-0D920599BCD8}"/>
              </a:ext>
            </a:extLst>
          </p:cNvPr>
          <p:cNvSpPr txBox="1">
            <a:spLocks/>
          </p:cNvSpPr>
          <p:nvPr/>
        </p:nvSpPr>
        <p:spPr>
          <a:xfrm>
            <a:off x="2131140" y="6373851"/>
            <a:ext cx="7929720" cy="3771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sz="2000" dirty="0">
                <a:solidFill>
                  <a:schemeClr val="bg1"/>
                </a:solidFill>
                <a:latin typeface="+mn-lt"/>
              </a:rPr>
              <a:t>MDR</a:t>
            </a:r>
            <a:endParaRPr lang="en-US" sz="2000" dirty="0">
              <a:latin typeface="+mn-lt"/>
            </a:endParaRPr>
          </a:p>
        </p:txBody>
      </p:sp>
      <p:pic>
        <p:nvPicPr>
          <p:cNvPr id="5" name="Obrázek 4" descr="Obsah obrázku text, snímek obrazovky, Písmo, design&#10;&#10;Popis byl vytvořen automaticky">
            <a:extLst>
              <a:ext uri="{FF2B5EF4-FFF2-40B4-BE49-F238E27FC236}">
                <a16:creationId xmlns:a16="http://schemas.microsoft.com/office/drawing/2014/main" id="{57B6ACCE-F274-BF7F-1CCC-098E3DC624F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" t="7851" r="4288" b="5943"/>
          <a:stretch/>
        </p:blipFill>
        <p:spPr>
          <a:xfrm>
            <a:off x="1600643" y="1321059"/>
            <a:ext cx="9003447" cy="5348222"/>
          </a:xfrm>
          <a:prstGeom prst="rect">
            <a:avLst/>
          </a:prstGeom>
        </p:spPr>
      </p:pic>
      <p:sp>
        <p:nvSpPr>
          <p:cNvPr id="14" name="Tvar L 13">
            <a:extLst>
              <a:ext uri="{FF2B5EF4-FFF2-40B4-BE49-F238E27FC236}">
                <a16:creationId xmlns:a16="http://schemas.microsoft.com/office/drawing/2014/main" id="{322BDCDD-7487-2DC7-84A0-B27D0FA1A1B8}"/>
              </a:ext>
            </a:extLst>
          </p:cNvPr>
          <p:cNvSpPr/>
          <p:nvPr/>
        </p:nvSpPr>
        <p:spPr>
          <a:xfrm>
            <a:off x="2694427" y="1019517"/>
            <a:ext cx="1314450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8C75B741-0EF8-30B6-E08C-0568561B1AAB}"/>
              </a:ext>
            </a:extLst>
          </p:cNvPr>
          <p:cNvSpPr/>
          <p:nvPr/>
        </p:nvSpPr>
        <p:spPr>
          <a:xfrm rot="10800000">
            <a:off x="720718" y="398215"/>
            <a:ext cx="1313822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C4E15E6-5C8E-E8AE-EB21-0EA3A3127569}"/>
              </a:ext>
            </a:extLst>
          </p:cNvPr>
          <p:cNvSpPr txBox="1"/>
          <p:nvPr/>
        </p:nvSpPr>
        <p:spPr>
          <a:xfrm>
            <a:off x="928492" y="660463"/>
            <a:ext cx="35318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dirty="0">
                <a:solidFill>
                  <a:srgbClr val="2C956E"/>
                </a:solidFill>
                <a:latin typeface="Poppins" pitchFamily="2" charset="0"/>
                <a:cs typeface="Poppins" pitchFamily="2" charset="0"/>
              </a:rPr>
              <a:t>Jak po novu?</a:t>
            </a:r>
          </a:p>
        </p:txBody>
      </p:sp>
      <p:sp>
        <p:nvSpPr>
          <p:cNvPr id="6" name="Zástupný symbol pro číslo snímku 3">
            <a:extLst>
              <a:ext uri="{FF2B5EF4-FFF2-40B4-BE49-F238E27FC236}">
                <a16:creationId xmlns:a16="http://schemas.microsoft.com/office/drawing/2014/main" id="{5F25E55D-FCCC-FD8E-623D-3F7F8256CBA6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2"/>
              </a:buClr>
            </a:pPr>
            <a:fld id="{0BA9A54C-67C5-4234-BB42-1D2D996DC2E4}" type="slidenum">
              <a:rPr lang="cs-CZ">
                <a:solidFill>
                  <a:srgbClr val="2D9673"/>
                </a:solidFill>
              </a:rPr>
              <a:pPr>
                <a:buClr>
                  <a:schemeClr val="tx2"/>
                </a:buClr>
              </a:pPr>
              <a:t>3</a:t>
            </a:fld>
            <a:endParaRPr lang="cs-CZ" dirty="0">
              <a:solidFill>
                <a:srgbClr val="2D96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697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D9C4A0B-A35B-4E30-9479-9C52B07682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D9C4A0B-A35B-4E30-9479-9C52B0768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F24CCDA-F115-49C6-BECC-784F647DD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968" y="385358"/>
            <a:ext cx="11362062" cy="751127"/>
          </a:xfrm>
        </p:spPr>
        <p:txBody>
          <a:bodyPr vert="horz"/>
          <a:lstStyle/>
          <a:p>
            <a:r>
              <a:rPr lang="cs-CZ" sz="28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Kategorie ZP dle uvedení na trh</a:t>
            </a:r>
            <a:endParaRPr lang="en-US" sz="2800" b="0" dirty="0">
              <a:solidFill>
                <a:srgbClr val="2D9673"/>
              </a:solidFill>
              <a:latin typeface="Poppins" pitchFamily="2" charset="0"/>
              <a:cs typeface="Poppins" pitchFamily="2" charset="0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58E8309-36CC-44F3-BA34-48BB058817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rgbClr val="2D9673"/>
          </a:solidFill>
          <a:ln>
            <a:solidFill>
              <a:srgbClr val="2D9673"/>
            </a:solidFill>
          </a:ln>
        </p:spPr>
        <p:txBody>
          <a:bodyPr/>
          <a:lstStyle/>
          <a:p>
            <a:r>
              <a:rPr lang="en-US" dirty="0"/>
              <a:t>1. </a:t>
            </a:r>
            <a:r>
              <a:rPr lang="en-US" dirty="0" err="1"/>
              <a:t>Starší</a:t>
            </a:r>
            <a:r>
              <a:rPr lang="en-US" dirty="0"/>
              <a:t> </a:t>
            </a:r>
            <a:r>
              <a:rPr lang="en-US" dirty="0" err="1"/>
              <a:t>prostředky</a:t>
            </a:r>
            <a:endParaRPr lang="en-US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739E5D-06A7-40DA-B83F-DD87A5F773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rgbClr val="2D9673"/>
          </a:solidFill>
          <a:ln>
            <a:solidFill>
              <a:srgbClr val="2D9673"/>
            </a:solidFill>
          </a:ln>
        </p:spPr>
        <p:txBody>
          <a:bodyPr/>
          <a:lstStyle/>
          <a:p>
            <a:r>
              <a:rPr lang="en-US" dirty="0"/>
              <a:t>2. Legacy devices	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E79F78A-A2B4-4E53-AA84-88DB54B90F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2D9673"/>
          </a:solidFill>
          <a:ln>
            <a:solidFill>
              <a:srgbClr val="2D9673"/>
            </a:solidFill>
          </a:ln>
        </p:spPr>
        <p:txBody>
          <a:bodyPr/>
          <a:lstStyle/>
          <a:p>
            <a:r>
              <a:rPr lang="en-US" dirty="0"/>
              <a:t>3. </a:t>
            </a:r>
            <a:r>
              <a:rPr lang="en-US" dirty="0" err="1"/>
              <a:t>Prostředky</a:t>
            </a:r>
            <a:r>
              <a:rPr lang="en-US" dirty="0"/>
              <a:t> </a:t>
            </a:r>
            <a:r>
              <a:rPr lang="en-US" dirty="0" err="1"/>
              <a:t>dle</a:t>
            </a:r>
            <a:r>
              <a:rPr lang="en-US" dirty="0"/>
              <a:t> MDRIVDR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ABE73C43-29CE-42F7-830E-A06AF06077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ln>
            <a:solidFill>
              <a:srgbClr val="2D9673"/>
            </a:solidFill>
          </a:ln>
        </p:spPr>
        <p:txBody>
          <a:bodyPr rIns="108000"/>
          <a:lstStyle/>
          <a:p>
            <a:pPr marL="0" indent="0">
              <a:buNone/>
            </a:pPr>
            <a:endParaRPr lang="cs-CZ" dirty="0"/>
          </a:p>
          <a:p>
            <a:pPr marL="270000" lvl="1" indent="0" algn="just">
              <a:buNone/>
            </a:pPr>
            <a:endParaRPr lang="cs-CZ" dirty="0"/>
          </a:p>
          <a:p>
            <a:pPr marL="270000" lvl="1" indent="0" algn="just">
              <a:buNone/>
            </a:pPr>
            <a:r>
              <a:rPr lang="cs-CZ" dirty="0"/>
              <a:t>Uváděny na trh v souladu se směrnicemi </a:t>
            </a:r>
            <a:r>
              <a:rPr lang="cs-CZ" b="1" dirty="0"/>
              <a:t>po 26. květnu 2021, </a:t>
            </a:r>
            <a:r>
              <a:rPr lang="cs-CZ" dirty="0"/>
              <a:t>resp.</a:t>
            </a:r>
            <a:r>
              <a:rPr lang="cs-CZ" b="1" dirty="0"/>
              <a:t> po 26. květnu 2022 (IVD)</a:t>
            </a:r>
          </a:p>
          <a:p>
            <a:pPr marL="270000" lvl="1" indent="0" algn="just">
              <a:buNone/>
            </a:pPr>
            <a:endParaRPr lang="cs-CZ" dirty="0"/>
          </a:p>
          <a:p>
            <a:pPr marL="0" indent="0" algn="just">
              <a:buNone/>
            </a:pPr>
            <a:r>
              <a:rPr lang="cs-CZ" u="sng" dirty="0"/>
              <a:t>možné typy:</a:t>
            </a:r>
          </a:p>
          <a:p>
            <a:pPr marL="0" indent="0" algn="just">
              <a:buNone/>
            </a:pPr>
            <a:endParaRPr lang="cs-CZ" dirty="0"/>
          </a:p>
          <a:p>
            <a:pPr marL="0" indent="0" algn="just">
              <a:buNone/>
            </a:pPr>
            <a:r>
              <a:rPr lang="cs-CZ" dirty="0"/>
              <a:t>a) ZP rizikové třídy I 	(</a:t>
            </a:r>
            <a:r>
              <a:rPr lang="cs-CZ" b="1" dirty="0"/>
              <a:t>opak. 	chirurgické nástroje apod.</a:t>
            </a:r>
            <a:r>
              <a:rPr lang="cs-CZ" dirty="0"/>
              <a:t>)</a:t>
            </a:r>
          </a:p>
          <a:p>
            <a:pPr marL="0" indent="0" algn="just">
              <a:buNone/>
            </a:pPr>
            <a:r>
              <a:rPr lang="cs-CZ" dirty="0"/>
              <a:t>b) ZP s </a:t>
            </a:r>
            <a:r>
              <a:rPr lang="cs-CZ" b="1" dirty="0"/>
              <a:t>vydaným CE 	certifikátem     	dle MDD</a:t>
            </a:r>
          </a:p>
          <a:p>
            <a:pPr marL="0" indent="0" algn="just">
              <a:buNone/>
            </a:pPr>
            <a:r>
              <a:rPr lang="cs-CZ" dirty="0"/>
              <a:t>c) IVD s </a:t>
            </a:r>
            <a:r>
              <a:rPr lang="cs-CZ" b="1" dirty="0"/>
              <a:t>vydaným CE podle IVDD</a:t>
            </a:r>
          </a:p>
          <a:p>
            <a:pPr marL="0" indent="0" algn="just">
              <a:buNone/>
            </a:pPr>
            <a:r>
              <a:rPr lang="cs-CZ" dirty="0"/>
              <a:t>d) “</a:t>
            </a:r>
            <a:r>
              <a:rPr lang="cs-CZ" b="1" dirty="0" err="1"/>
              <a:t>samoposouzená</a:t>
            </a:r>
            <a:r>
              <a:rPr lang="cs-CZ" dirty="0"/>
              <a:t>“ IVD, která podle IVDR potřebují CE </a:t>
            </a:r>
            <a:r>
              <a:rPr lang="cs-CZ" dirty="0" err="1"/>
              <a:t>cert</a:t>
            </a:r>
            <a:r>
              <a:rPr lang="cs-CZ" dirty="0"/>
              <a:t>.</a:t>
            </a:r>
            <a:endParaRPr lang="cs-CZ" b="1" dirty="0"/>
          </a:p>
          <a:p>
            <a:pPr marL="0" indent="0" algn="just">
              <a:buNone/>
            </a:pPr>
            <a:endParaRPr lang="cs-CZ" b="1" dirty="0"/>
          </a:p>
          <a:p>
            <a:pPr marL="27000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5BF0D75-9714-417F-9B8C-D1D08AC69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ln>
            <a:solidFill>
              <a:srgbClr val="2D9673"/>
            </a:solidFill>
          </a:ln>
        </p:spPr>
        <p:txBody>
          <a:bodyPr rIns="108000"/>
          <a:lstStyle/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270000" lvl="1" indent="0" algn="just">
              <a:buNone/>
            </a:pPr>
            <a:r>
              <a:rPr lang="cs-CZ" dirty="0"/>
              <a:t>Prostředky u nichž byla </a:t>
            </a:r>
            <a:r>
              <a:rPr lang="cs-CZ" b="1" dirty="0"/>
              <a:t>posouzena shoda dle MDR/IVDR </a:t>
            </a:r>
            <a:r>
              <a:rPr lang="cs-CZ" dirty="0"/>
              <a:t>(typicky riziková třída I </a:t>
            </a:r>
            <a:r>
              <a:rPr lang="cs-CZ" dirty="0" err="1"/>
              <a:t>nest</a:t>
            </a:r>
            <a:r>
              <a:rPr lang="cs-CZ" dirty="0"/>
              <a:t>., IVDR A)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2FEB1CAB-F448-47C0-BCED-AC9D721F2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ln>
            <a:solidFill>
              <a:srgbClr val="2D9673"/>
            </a:solidFill>
          </a:ln>
        </p:spPr>
        <p:txBody>
          <a:bodyPr rIns="108000"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270000" lvl="1" indent="0" algn="just">
              <a:buNone/>
            </a:pPr>
            <a:r>
              <a:rPr lang="de-DE" dirty="0" err="1"/>
              <a:t>Uvedeny</a:t>
            </a:r>
            <a:r>
              <a:rPr lang="de-DE" dirty="0"/>
              <a:t> na </a:t>
            </a:r>
            <a:r>
              <a:rPr lang="de-DE" dirty="0" err="1"/>
              <a:t>trh</a:t>
            </a:r>
            <a:r>
              <a:rPr lang="de-DE" dirty="0"/>
              <a:t> v </a:t>
            </a:r>
            <a:r>
              <a:rPr lang="de-DE" dirty="0" err="1"/>
              <a:t>souladu</a:t>
            </a:r>
            <a:r>
              <a:rPr lang="de-DE" dirty="0"/>
              <a:t> se </a:t>
            </a:r>
            <a:r>
              <a:rPr lang="de-DE" dirty="0" err="1"/>
              <a:t>směrnicemi</a:t>
            </a:r>
            <a:r>
              <a:rPr lang="de-DE" dirty="0"/>
              <a:t> </a:t>
            </a:r>
            <a:r>
              <a:rPr lang="de-DE" b="1" dirty="0" err="1"/>
              <a:t>před</a:t>
            </a:r>
            <a:r>
              <a:rPr lang="de-DE" b="1" dirty="0"/>
              <a:t> 26. </a:t>
            </a:r>
            <a:r>
              <a:rPr lang="de-DE" b="1" dirty="0" err="1"/>
              <a:t>květnem</a:t>
            </a:r>
            <a:r>
              <a:rPr lang="de-DE" b="1" dirty="0"/>
              <a:t> 2021, </a:t>
            </a:r>
            <a:r>
              <a:rPr lang="cs-CZ" b="1" dirty="0"/>
              <a:t>resp. po 26. květnu 2022 (IVD)</a:t>
            </a:r>
          </a:p>
          <a:p>
            <a:pPr marL="270000" lvl="1" indent="0" algn="just">
              <a:buNone/>
            </a:pPr>
            <a:endParaRPr lang="de-DE" b="1" dirty="0"/>
          </a:p>
          <a:p>
            <a:endParaRPr lang="en-US" dirty="0"/>
          </a:p>
        </p:txBody>
      </p:sp>
      <p:sp>
        <p:nvSpPr>
          <p:cNvPr id="12" name="Zástupný symbol pro číslo snímku 11">
            <a:extLst>
              <a:ext uri="{FF2B5EF4-FFF2-40B4-BE49-F238E27FC236}">
                <a16:creationId xmlns:a16="http://schemas.microsoft.com/office/drawing/2014/main" id="{41CAB834-920F-41F3-A702-4BFC532BA7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23458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chemeClr val="tx2"/>
              </a:buClr>
            </a:pPr>
            <a:fld id="{0BA9A54C-67C5-4234-BB42-1D2D996DC2E4}" type="slidenum">
              <a:rPr lang="cs-CZ" smtClean="0">
                <a:solidFill>
                  <a:srgbClr val="2D9673"/>
                </a:solidFill>
              </a:rPr>
              <a:pPr algn="l">
                <a:buClr>
                  <a:schemeClr val="tx2"/>
                </a:buClr>
              </a:pPr>
              <a:t>4</a:t>
            </a:fld>
            <a:endParaRPr lang="de-DE" dirty="0">
              <a:solidFill>
                <a:srgbClr val="2D9673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3C5F940B-42CD-EB03-AD82-B7CB8E898C5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1151" t="32331" r="42447" b="31977"/>
          <a:stretch/>
        </p:blipFill>
        <p:spPr>
          <a:xfrm>
            <a:off x="10951105" y="274543"/>
            <a:ext cx="825624" cy="920502"/>
          </a:xfrm>
          <a:prstGeom prst="rect">
            <a:avLst/>
          </a:prstGeom>
        </p:spPr>
      </p:pic>
      <p:sp>
        <p:nvSpPr>
          <p:cNvPr id="14" name="Tvar L 13">
            <a:extLst>
              <a:ext uri="{FF2B5EF4-FFF2-40B4-BE49-F238E27FC236}">
                <a16:creationId xmlns:a16="http://schemas.microsoft.com/office/drawing/2014/main" id="{794EBCA5-CEE3-4440-44B9-6D4E8793BDFE}"/>
              </a:ext>
            </a:extLst>
          </p:cNvPr>
          <p:cNvSpPr/>
          <p:nvPr/>
        </p:nvSpPr>
        <p:spPr>
          <a:xfrm>
            <a:off x="5261448" y="1097681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C11359BA-7C00-95CC-E2E4-DAA117774FF7}"/>
              </a:ext>
            </a:extLst>
          </p:cNvPr>
          <p:cNvSpPr/>
          <p:nvPr/>
        </p:nvSpPr>
        <p:spPr>
          <a:xfrm rot="10800000">
            <a:off x="249827" y="418199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28363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>
            <a:extLst>
              <a:ext uri="{FF2B5EF4-FFF2-40B4-BE49-F238E27FC236}">
                <a16:creationId xmlns:a16="http://schemas.microsoft.com/office/drawing/2014/main" id="{22DD7701-9894-78D3-F041-7060C1EE70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516" t="35624" r="60040" b="37421"/>
          <a:stretch/>
        </p:blipFill>
        <p:spPr>
          <a:xfrm>
            <a:off x="1582677" y="2369839"/>
            <a:ext cx="8663763" cy="3419907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83723464-6A91-1A95-45DA-A029EB9C7D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151" t="32331" r="42447" b="31977"/>
          <a:stretch/>
        </p:blipFill>
        <p:spPr>
          <a:xfrm>
            <a:off x="10951105" y="274543"/>
            <a:ext cx="825624" cy="920503"/>
          </a:xfrm>
          <a:prstGeom prst="rect">
            <a:avLst/>
          </a:prstGeom>
        </p:spPr>
      </p:pic>
      <p:sp>
        <p:nvSpPr>
          <p:cNvPr id="13" name="Zástupný symbol pro číslo snímku 3">
            <a:extLst>
              <a:ext uri="{FF2B5EF4-FFF2-40B4-BE49-F238E27FC236}">
                <a16:creationId xmlns:a16="http://schemas.microsoft.com/office/drawing/2014/main" id="{E1C171D0-91A0-F240-F186-4BD9826A75B2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5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B2B2DA9B-C2EB-3175-F1B2-697CA26A91C8}"/>
              </a:ext>
            </a:extLst>
          </p:cNvPr>
          <p:cNvSpPr txBox="1"/>
          <p:nvPr/>
        </p:nvSpPr>
        <p:spPr>
          <a:xfrm>
            <a:off x="665100" y="1614591"/>
            <a:ext cx="1145875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 Data určující povinnost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označit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itchFamily="2" charset="0"/>
                <a:ea typeface="Tahoma" panose="020B0604030504040204" pitchFamily="34" charset="0"/>
                <a:cs typeface="Poppins" pitchFamily="2" charset="0"/>
              </a:rPr>
              <a:t>zdravotnický prostředek UDI kódem </a:t>
            </a: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E8D440CD-495B-0CCD-3E27-8D5B19CB1076}"/>
              </a:ext>
            </a:extLst>
          </p:cNvPr>
          <p:cNvSpPr/>
          <p:nvPr/>
        </p:nvSpPr>
        <p:spPr>
          <a:xfrm>
            <a:off x="1259761" y="763196"/>
            <a:ext cx="1314450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EB7A49A2-78D5-0FDA-113D-854C566A5603}"/>
              </a:ext>
            </a:extLst>
          </p:cNvPr>
          <p:cNvSpPr/>
          <p:nvPr/>
        </p:nvSpPr>
        <p:spPr>
          <a:xfrm rot="10800000">
            <a:off x="413998" y="230883"/>
            <a:ext cx="1313822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Nadpis 5">
            <a:extLst>
              <a:ext uri="{FF2B5EF4-FFF2-40B4-BE49-F238E27FC236}">
                <a16:creationId xmlns:a16="http://schemas.microsoft.com/office/drawing/2014/main" id="{A4876247-7462-E53B-349B-C5213A963609}"/>
              </a:ext>
            </a:extLst>
          </p:cNvPr>
          <p:cNvSpPr txBox="1">
            <a:spLocks/>
          </p:cNvSpPr>
          <p:nvPr/>
        </p:nvSpPr>
        <p:spPr>
          <a:xfrm>
            <a:off x="1070909" y="343651"/>
            <a:ext cx="6734076" cy="6729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2C956E"/>
                </a:solidFill>
                <a:effectLst/>
                <a:uLnTx/>
                <a:uFillTx/>
                <a:latin typeface="Poppins" pitchFamily="2" charset="0"/>
                <a:ea typeface="+mj-ea"/>
                <a:cs typeface="Poppins" pitchFamily="2" charset="0"/>
              </a:rPr>
              <a:t>UDI</a:t>
            </a:r>
            <a:endParaRPr kumimoji="0" lang="cs-CZ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itchFamily="2" charset="0"/>
              <a:ea typeface="+mj-ea"/>
              <a:cs typeface="Poppi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6797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30E4D87B-B2F5-449F-8958-050FB6817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740" y="426667"/>
            <a:ext cx="11362063" cy="751127"/>
          </a:xfrm>
        </p:spPr>
        <p:txBody>
          <a:bodyPr/>
          <a:lstStyle/>
          <a:p>
            <a:r>
              <a:rPr lang="sk-SK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UDI – povinnosti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5638FCA-1E86-0B8A-BC81-7585088C838F}"/>
              </a:ext>
            </a:extLst>
          </p:cNvPr>
          <p:cNvSpPr txBox="1">
            <a:spLocks/>
          </p:cNvSpPr>
          <p:nvPr/>
        </p:nvSpPr>
        <p:spPr>
          <a:xfrm>
            <a:off x="518161" y="2214818"/>
            <a:ext cx="11580118" cy="535531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700" b="1" kern="120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Zákon č. 375/2022 Sb. o Z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cs-CZ" alt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</a:br>
            <a:r>
              <a:rPr kumimoji="0" lang="cs-CZ" alt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§ 39 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(4)  	</a:t>
            </a: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Poskytovatel zdravotních služeb je povinen uchovávat jedinečnou identifikaci prostředků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, </a:t>
            </a: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s výjimkou prostředků rizikové třídy I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, které mu byly dodány. Tyto informace jsou poskytovatelé zdravotních služeb povinni na vyžádání předložit Ústavu.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 </a:t>
            </a:r>
          </a:p>
          <a:p>
            <a:pPr>
              <a:defRPr/>
            </a:pPr>
            <a:b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</a:b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Možná sankce: </a:t>
            </a:r>
            <a:r>
              <a:rPr kumimoji="0" lang="cs-CZ" sz="20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až 5 mil Kč</a:t>
            </a: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§ 39 (3)	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Je-li při poskytování zdravotních služeb </a:t>
            </a: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použit zdravotnický prostředek rizikové třídy </a:t>
            </a:r>
            <a:r>
              <a:rPr kumimoji="0" lang="cs-CZ" sz="20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IIb</a:t>
            </a: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 nebo III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, je poskytovatel zdravotních služeb </a:t>
            </a:r>
            <a:r>
              <a:rPr kumimoji="0" lang="cs-CZ" sz="20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povinen provést o tom záznam ve zdravotnické dokumentaci </a:t>
            </a:r>
            <a:r>
              <a:rPr kumimoji="0" lang="cs-CZ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  <a:t>vedené o pacientov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cs-CZ" sz="1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</a:br>
            <a:endParaRPr kumimoji="0" lang="cs-CZ" sz="18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</a:br>
            <a:b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+mj-cs"/>
              </a:rPr>
            </a:br>
            <a:endParaRPr kumimoji="0" lang="cs-CZ" alt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8178ED9A-A09B-32FB-6553-80B99DEAEC43}"/>
              </a:ext>
            </a:extLst>
          </p:cNvPr>
          <p:cNvSpPr txBox="1"/>
          <p:nvPr/>
        </p:nvSpPr>
        <p:spPr>
          <a:xfrm>
            <a:off x="1588957" y="1918741"/>
            <a:ext cx="0" cy="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269993" marR="0" lvl="0" indent="-26999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6E7F9755-E088-3DBA-FF4F-7CE8C6A179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51" t="32331" r="42447" b="31977"/>
          <a:stretch/>
        </p:blipFill>
        <p:spPr>
          <a:xfrm>
            <a:off x="10951105" y="274543"/>
            <a:ext cx="825624" cy="920503"/>
          </a:xfrm>
          <a:prstGeom prst="rect">
            <a:avLst/>
          </a:prstGeom>
        </p:spPr>
      </p:pic>
      <p:sp>
        <p:nvSpPr>
          <p:cNvPr id="8" name="Zástupný symbol pro číslo snímku 3">
            <a:extLst>
              <a:ext uri="{FF2B5EF4-FFF2-40B4-BE49-F238E27FC236}">
                <a16:creationId xmlns:a16="http://schemas.microsoft.com/office/drawing/2014/main" id="{A22101F2-3B61-D8CD-6B96-96AE1D3F6CA3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5FF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FF"/>
                </a:buClr>
                <a:buSzTx/>
                <a:buFontTx/>
                <a:buNone/>
                <a:tabLst/>
                <a:defRPr/>
              </a:pPr>
              <a:t>6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Tvar L 8">
            <a:extLst>
              <a:ext uri="{FF2B5EF4-FFF2-40B4-BE49-F238E27FC236}">
                <a16:creationId xmlns:a16="http://schemas.microsoft.com/office/drawing/2014/main" id="{F5CE63FC-2004-4FCA-3096-F476CB93E1A2}"/>
              </a:ext>
            </a:extLst>
          </p:cNvPr>
          <p:cNvSpPr/>
          <p:nvPr/>
        </p:nvSpPr>
        <p:spPr>
          <a:xfrm>
            <a:off x="2822093" y="1177793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var L 9">
            <a:extLst>
              <a:ext uri="{FF2B5EF4-FFF2-40B4-BE49-F238E27FC236}">
                <a16:creationId xmlns:a16="http://schemas.microsoft.com/office/drawing/2014/main" id="{0D4B2BAD-3029-DA3A-72D6-67711A96055A}"/>
              </a:ext>
            </a:extLst>
          </p:cNvPr>
          <p:cNvSpPr/>
          <p:nvPr/>
        </p:nvSpPr>
        <p:spPr>
          <a:xfrm rot="10800000">
            <a:off x="518161" y="426663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737BF5B-C97D-11B5-B76C-24FCB4C2CE00}"/>
              </a:ext>
            </a:extLst>
          </p:cNvPr>
          <p:cNvSpPr txBox="1"/>
          <p:nvPr/>
        </p:nvSpPr>
        <p:spPr>
          <a:xfrm>
            <a:off x="423460" y="1717316"/>
            <a:ext cx="22210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Poppins" pitchFamily="2" charset="0"/>
                <a:ea typeface="+mn-ea"/>
                <a:cs typeface="Poppins" pitchFamily="2" charset="0"/>
              </a:rPr>
              <a:t>Poskytovatel ZS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5804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81518F48-BC20-A121-74BC-24B2351161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86853419"/>
              </p:ext>
            </p:extLst>
          </p:nvPr>
        </p:nvGraphicFramePr>
        <p:xfrm>
          <a:off x="177528" y="1"/>
          <a:ext cx="11825419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Nadpis 5">
            <a:extLst>
              <a:ext uri="{FF2B5EF4-FFF2-40B4-BE49-F238E27FC236}">
                <a16:creationId xmlns:a16="http://schemas.microsoft.com/office/drawing/2014/main" id="{C41C63C8-D168-D5B7-4DCA-A1E5CAFDC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6836" y="445483"/>
            <a:ext cx="11362063" cy="751127"/>
          </a:xfrm>
        </p:spPr>
        <p:txBody>
          <a:bodyPr>
            <a:normAutofit/>
          </a:bodyPr>
          <a:lstStyle/>
          <a:p>
            <a:r>
              <a:rPr lang="sk-SK" sz="27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IVDR a </a:t>
            </a:r>
            <a:r>
              <a:rPr lang="sk-SK" sz="27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přechodná</a:t>
            </a:r>
            <a:r>
              <a:rPr lang="sk-SK" sz="27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období</a:t>
            </a:r>
          </a:p>
        </p:txBody>
      </p:sp>
      <p:sp>
        <p:nvSpPr>
          <p:cNvPr id="10" name="Tvar L 9">
            <a:extLst>
              <a:ext uri="{FF2B5EF4-FFF2-40B4-BE49-F238E27FC236}">
                <a16:creationId xmlns:a16="http://schemas.microsoft.com/office/drawing/2014/main" id="{645FB2F4-62B6-E7F6-7981-6C9C48B835F9}"/>
              </a:ext>
            </a:extLst>
          </p:cNvPr>
          <p:cNvSpPr/>
          <p:nvPr/>
        </p:nvSpPr>
        <p:spPr>
          <a:xfrm>
            <a:off x="4909607" y="937669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var L 10">
            <a:extLst>
              <a:ext uri="{FF2B5EF4-FFF2-40B4-BE49-F238E27FC236}">
                <a16:creationId xmlns:a16="http://schemas.microsoft.com/office/drawing/2014/main" id="{1496A78D-80E2-F65A-9F82-9A671F557FC4}"/>
              </a:ext>
            </a:extLst>
          </p:cNvPr>
          <p:cNvSpPr/>
          <p:nvPr/>
        </p:nvSpPr>
        <p:spPr>
          <a:xfrm rot="10800000">
            <a:off x="665100" y="264936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D793582-FF06-E4E6-FA3F-AD4274532810}"/>
              </a:ext>
            </a:extLst>
          </p:cNvPr>
          <p:cNvSpPr txBox="1"/>
          <p:nvPr/>
        </p:nvSpPr>
        <p:spPr>
          <a:xfrm>
            <a:off x="357941" y="4992627"/>
            <a:ext cx="538310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400" b="1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F0502020204030204" pitchFamily="34" charset="0"/>
              </a:rPr>
              <a:t>*) Podmínky:</a:t>
            </a:r>
          </a:p>
          <a:p>
            <a:pPr algn="l"/>
            <a:endParaRPr lang="cs-CZ" sz="1400" b="1" i="0" u="none" strike="noStrike" dirty="0">
              <a:solidFill>
                <a:srgbClr val="4D4D4D"/>
              </a:solidFill>
              <a:effectLst/>
              <a:highlight>
                <a:srgbClr val="FFFFFF"/>
              </a:highlight>
              <a:latin typeface="Open Sans" panose="020F050202020403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sng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Zavedený systém řízení kvality dle IVDR do 26.5.202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IVD bez významných změ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IVD nepředstavuje riziko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u="sng" dirty="0">
                <a:solidFill>
                  <a:srgbClr val="4D4D4D"/>
                </a:solidFill>
                <a:highlight>
                  <a:srgbClr val="FFFFFF"/>
                </a:highlight>
                <a:latin typeface="Open Sans" panose="020B0606030504020204" pitchFamily="34" charset="0"/>
              </a:rPr>
              <a:t>Podaná žádost o recertifikaci u NB do 26.5.202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sz="1400" i="0" u="sng" strike="noStrike" dirty="0">
              <a:solidFill>
                <a:srgbClr val="4D4D4D"/>
              </a:solidFill>
              <a:effectLst/>
              <a:highlight>
                <a:srgbClr val="FFFFFF"/>
              </a:highlight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cs-CZ" sz="1400" b="0" i="0" u="none" strike="noStrike" dirty="0">
              <a:solidFill>
                <a:srgbClr val="4D4D4D"/>
              </a:solidFill>
              <a:effectLst/>
              <a:highlight>
                <a:srgbClr val="FFFFFF"/>
              </a:highlight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85113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FC2AD117-3E44-8E23-2176-C647B6E40830}"/>
              </a:ext>
            </a:extLst>
          </p:cNvPr>
          <p:cNvSpPr txBox="1"/>
          <p:nvPr/>
        </p:nvSpPr>
        <p:spPr>
          <a:xfrm>
            <a:off x="459207" y="5385717"/>
            <a:ext cx="324196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cs-CZ" sz="1400" b="1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F0502020204030204" pitchFamily="34" charset="0"/>
              </a:rPr>
              <a:t>*) Podmínky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Zavedený systém řízení kvality dle IVDR do 26.5.2025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IVD bez významných změ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cs-CZ" sz="1400" b="0" i="0" u="none" strike="noStrike" dirty="0">
                <a:solidFill>
                  <a:srgbClr val="4D4D4D"/>
                </a:solidFill>
                <a:effectLst/>
                <a:highlight>
                  <a:srgbClr val="FFFFFF"/>
                </a:highlight>
                <a:latin typeface="Open Sans" panose="020B0606030504020204" pitchFamily="34" charset="0"/>
              </a:rPr>
              <a:t>IVD nepředstavuje riziko</a:t>
            </a:r>
          </a:p>
        </p:txBody>
      </p:sp>
      <p:pic>
        <p:nvPicPr>
          <p:cNvPr id="10" name="Obrázek 9" descr="Obsah obrázku text, snímek obrazovky, Písmo&#10;&#10;Popis byl vytvořen automaticky">
            <a:extLst>
              <a:ext uri="{FF2B5EF4-FFF2-40B4-BE49-F238E27FC236}">
                <a16:creationId xmlns:a16="http://schemas.microsoft.com/office/drawing/2014/main" id="{4D92C26A-F165-BF26-35B4-3B9627A74D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257" y="522530"/>
            <a:ext cx="10439931" cy="6186626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9F47CAE4-4F3C-F1DF-B993-B5FF827659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151" t="32331" r="42447" b="31977"/>
          <a:stretch/>
        </p:blipFill>
        <p:spPr>
          <a:xfrm>
            <a:off x="10891458" y="437780"/>
            <a:ext cx="825624" cy="920502"/>
          </a:xfrm>
          <a:prstGeom prst="rect">
            <a:avLst/>
          </a:prstGeom>
        </p:spPr>
      </p:pic>
      <p:sp>
        <p:nvSpPr>
          <p:cNvPr id="12" name="Nadpis 5">
            <a:extLst>
              <a:ext uri="{FF2B5EF4-FFF2-40B4-BE49-F238E27FC236}">
                <a16:creationId xmlns:a16="http://schemas.microsoft.com/office/drawing/2014/main" id="{06987A7B-2CC0-0B74-0E9F-4F93B33AFB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68" y="251649"/>
            <a:ext cx="11362063" cy="751127"/>
          </a:xfrm>
        </p:spPr>
        <p:txBody>
          <a:bodyPr>
            <a:normAutofit/>
          </a:bodyPr>
          <a:lstStyle/>
          <a:p>
            <a:r>
              <a:rPr lang="sk-SK" sz="27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IVDR - ostatní</a:t>
            </a:r>
          </a:p>
        </p:txBody>
      </p:sp>
      <p:sp>
        <p:nvSpPr>
          <p:cNvPr id="13" name="Tvar L 12">
            <a:extLst>
              <a:ext uri="{FF2B5EF4-FFF2-40B4-BE49-F238E27FC236}">
                <a16:creationId xmlns:a16="http://schemas.microsoft.com/office/drawing/2014/main" id="{A28A7FCF-1766-CA01-CE4D-FC00155A1C98}"/>
              </a:ext>
            </a:extLst>
          </p:cNvPr>
          <p:cNvSpPr/>
          <p:nvPr/>
        </p:nvSpPr>
        <p:spPr>
          <a:xfrm>
            <a:off x="2087476" y="719149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F196F3B7-3F4B-4D2A-EEB7-B9FF14F2B88E}"/>
              </a:ext>
            </a:extLst>
          </p:cNvPr>
          <p:cNvSpPr/>
          <p:nvPr/>
        </p:nvSpPr>
        <p:spPr>
          <a:xfrm rot="10800000">
            <a:off x="165830" y="148845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5928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 descr="Obsah obrázku text, Písmo, logo, Grafika&#10;&#10;Popis byl vytvořen automaticky">
            <a:extLst>
              <a:ext uri="{FF2B5EF4-FFF2-40B4-BE49-F238E27FC236}">
                <a16:creationId xmlns:a16="http://schemas.microsoft.com/office/drawing/2014/main" id="{9D96314D-639B-2D35-C84D-D5310C1D77D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2412"/>
          <a:stretch/>
        </p:blipFill>
        <p:spPr>
          <a:xfrm>
            <a:off x="6030641" y="1463764"/>
            <a:ext cx="1186393" cy="920502"/>
          </a:xfrm>
          <a:prstGeom prst="rect">
            <a:avLst/>
          </a:prstGeom>
        </p:spPr>
      </p:pic>
      <p:sp>
        <p:nvSpPr>
          <p:cNvPr id="11" name="Zástupný symbol pro číslo snímku 3">
            <a:extLst>
              <a:ext uri="{FF2B5EF4-FFF2-40B4-BE49-F238E27FC236}">
                <a16:creationId xmlns:a16="http://schemas.microsoft.com/office/drawing/2014/main" id="{978E685E-D88E-CE7A-AB1F-749881A5AF15}"/>
              </a:ext>
            </a:extLst>
          </p:cNvPr>
          <p:cNvSpPr txBox="1">
            <a:spLocks/>
          </p:cNvSpPr>
          <p:nvPr/>
        </p:nvSpPr>
        <p:spPr>
          <a:xfrm>
            <a:off x="423460" y="6458429"/>
            <a:ext cx="483281" cy="176400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de-DE" sz="1400" kern="120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fld id="{0BA9A54C-67C5-4234-BB42-1D2D996DC2E4}" type="slidenum">
              <a:rPr kumimoji="0" lang="cs-CZ" sz="1400" b="0" i="0" u="none" strike="noStrike" kern="1200" cap="none" spc="0" normalizeH="0" baseline="0" noProof="0">
                <a:ln>
                  <a:noFill/>
                </a:ln>
                <a:solidFill>
                  <a:srgbClr val="2D967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Tx/>
                <a:buNone/>
                <a:tabLst/>
                <a:defRPr/>
              </a:pPr>
              <a:t>9</a:t>
            </a:fld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D9673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E319E8E-BA3B-4DE5-DCF2-3BE33339842A}"/>
              </a:ext>
            </a:extLst>
          </p:cNvPr>
          <p:cNvSpPr txBox="1"/>
          <p:nvPr/>
        </p:nvSpPr>
        <p:spPr>
          <a:xfrm>
            <a:off x="604705" y="1723472"/>
            <a:ext cx="10851872" cy="4493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Odstranění ustanovení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o doprodeji  </a:t>
            </a:r>
            <a:r>
              <a:rPr kumimoji="0" lang="cs-CZ" sz="160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(i pro IVD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ro stanovení konce přechodného období není rozhodující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stávající riziková třída dle MDD, ale podle MDR, resp. IVDD/IVD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Výrobce prokáže splnění podmínek pro prodloužení přechodného období –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prohlášením / potvrzení od oznámeného subjektu / vlastním prohlášením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Možnost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souběžného uvádění na trh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ZP posouzených dle MDD (IVDD) a </a:t>
            </a:r>
            <a:r>
              <a:rPr kumimoji="0" lang="cs-CZ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recertifikovaných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Poppins" pitchFamily="2" charset="0"/>
                <a:ea typeface="Times New Roman" panose="02020603050405020304" pitchFamily="18" charset="0"/>
                <a:cs typeface="Poppins" pitchFamily="2" charset="0"/>
              </a:rPr>
              <a:t> dle MDR (IVD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 typeface="Wingdings" pitchFamily="2" charset="2"/>
              <a:buChar char="Ø"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D9673"/>
              </a:buClr>
              <a:buSzTx/>
              <a:buFontTx/>
              <a:buNone/>
              <a:tabLst/>
              <a:defRPr/>
            </a:pP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Poppins" pitchFamily="2" charset="0"/>
              <a:ea typeface="Times New Roman" panose="02020603050405020304" pitchFamily="18" charset="0"/>
              <a:cs typeface="Poppins" pitchFamily="2" charset="0"/>
            </a:endParaRPr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41738E29-92E0-0962-9DF9-D999D055D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6836" y="445483"/>
            <a:ext cx="11362063" cy="751127"/>
          </a:xfrm>
        </p:spPr>
        <p:txBody>
          <a:bodyPr>
            <a:normAutofit/>
          </a:bodyPr>
          <a:lstStyle/>
          <a:p>
            <a:r>
              <a:rPr lang="sk-SK" sz="27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Současný</a:t>
            </a:r>
            <a:r>
              <a:rPr lang="sk-SK" sz="2700" b="0" dirty="0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 stav – v </a:t>
            </a:r>
            <a:r>
              <a:rPr lang="sk-SK" sz="2700" b="0" dirty="0" err="1">
                <a:solidFill>
                  <a:srgbClr val="2D9673"/>
                </a:solidFill>
                <a:latin typeface="Poppins" pitchFamily="2" charset="0"/>
                <a:cs typeface="Poppins" pitchFamily="2" charset="0"/>
              </a:rPr>
              <a:t>bodech</a:t>
            </a:r>
            <a:endParaRPr lang="sk-SK" sz="2700" b="0" dirty="0">
              <a:solidFill>
                <a:srgbClr val="2D9673"/>
              </a:solidFill>
              <a:latin typeface="Poppins" pitchFamily="2" charset="0"/>
              <a:cs typeface="Poppins" pitchFamily="2" charset="0"/>
            </a:endParaRPr>
          </a:p>
        </p:txBody>
      </p:sp>
      <p:sp>
        <p:nvSpPr>
          <p:cNvPr id="14" name="Tvar L 13">
            <a:extLst>
              <a:ext uri="{FF2B5EF4-FFF2-40B4-BE49-F238E27FC236}">
                <a16:creationId xmlns:a16="http://schemas.microsoft.com/office/drawing/2014/main" id="{8EC73608-D4FA-C431-203E-9514972983B4}"/>
              </a:ext>
            </a:extLst>
          </p:cNvPr>
          <p:cNvSpPr/>
          <p:nvPr/>
        </p:nvSpPr>
        <p:spPr>
          <a:xfrm>
            <a:off x="5120739" y="977672"/>
            <a:ext cx="1314451" cy="290407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63BFCC">
              <a:alpha val="73952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var L 14">
            <a:extLst>
              <a:ext uri="{FF2B5EF4-FFF2-40B4-BE49-F238E27FC236}">
                <a16:creationId xmlns:a16="http://schemas.microsoft.com/office/drawing/2014/main" id="{312A51AA-E475-BD5A-4EE7-9B718BE9C5E0}"/>
              </a:ext>
            </a:extLst>
          </p:cNvPr>
          <p:cNvSpPr/>
          <p:nvPr/>
        </p:nvSpPr>
        <p:spPr>
          <a:xfrm rot="10800000">
            <a:off x="665100" y="264936"/>
            <a:ext cx="1313823" cy="270880"/>
          </a:xfrm>
          <a:prstGeom prst="corner">
            <a:avLst>
              <a:gd name="adj1" fmla="val 29888"/>
              <a:gd name="adj2" fmla="val 36592"/>
            </a:avLst>
          </a:prstGeom>
          <a:solidFill>
            <a:srgbClr val="2D9673">
              <a:alpha val="72000"/>
            </a:srgbClr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7F3CDEDA-86AC-752B-15F9-0CF1714281E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1151" t="32331" r="42447" b="31977"/>
          <a:stretch/>
        </p:blipFill>
        <p:spPr>
          <a:xfrm>
            <a:off x="10891458" y="437780"/>
            <a:ext cx="825624" cy="920502"/>
          </a:xfrm>
          <a:prstGeom prst="rect">
            <a:avLst/>
          </a:prstGeom>
        </p:spPr>
      </p:pic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8F06800B-DAA5-307B-5409-47CE2CDB4AAD}"/>
              </a:ext>
            </a:extLst>
          </p:cNvPr>
          <p:cNvCxnSpPr>
            <a:cxnSpLocks/>
          </p:cNvCxnSpPr>
          <p:nvPr/>
        </p:nvCxnSpPr>
        <p:spPr>
          <a:xfrm flipV="1">
            <a:off x="6066319" y="1491418"/>
            <a:ext cx="1115036" cy="729678"/>
          </a:xfrm>
          <a:prstGeom prst="line">
            <a:avLst/>
          </a:prstGeom>
          <a:ln w="3175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AC70E13B-7B59-CEEE-0E12-D39F76AB3972}"/>
              </a:ext>
            </a:extLst>
          </p:cNvPr>
          <p:cNvCxnSpPr>
            <a:cxnSpLocks/>
          </p:cNvCxnSpPr>
          <p:nvPr/>
        </p:nvCxnSpPr>
        <p:spPr>
          <a:xfrm>
            <a:off x="6341963" y="1491418"/>
            <a:ext cx="946430" cy="767887"/>
          </a:xfrm>
          <a:prstGeom prst="line">
            <a:avLst/>
          </a:prstGeom>
          <a:ln w="3175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4801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9FF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Präsentation10" id="{EF43CC22-2CA9-A243-B552-C0926ED915E1}" vid="{C119C152-9618-D942-8972-146BE5C85912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9FF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Präsentation10" id="{EF43CC22-2CA9-A243-B552-C0926ED915E1}" vid="{C119C152-9618-D942-8972-146BE5C85912}"/>
    </a:ext>
  </a:extLst>
</a:theme>
</file>

<file path=ppt/theme/theme4.xml><?xml version="1.0" encoding="utf-8"?>
<a:theme xmlns:a="http://schemas.openxmlformats.org/drawingml/2006/main" name="2_Hartmann corporate_Confidential">
  <a:themeElements>
    <a:clrScheme name="Hartmann Master 2020">
      <a:dk1>
        <a:srgbClr val="000000"/>
      </a:dk1>
      <a:lt1>
        <a:sysClr val="window" lastClr="FFFFFF"/>
      </a:lt1>
      <a:dk2>
        <a:srgbClr val="0045FF"/>
      </a:dk2>
      <a:lt2>
        <a:srgbClr val="E7E6E6"/>
      </a:lt2>
      <a:accent1>
        <a:srgbClr val="001689"/>
      </a:accent1>
      <a:accent2>
        <a:srgbClr val="84DA10"/>
      </a:accent2>
      <a:accent3>
        <a:srgbClr val="FF2954"/>
      </a:accent3>
      <a:accent4>
        <a:srgbClr val="593ABA"/>
      </a:accent4>
      <a:accent5>
        <a:srgbClr val="FF8E00"/>
      </a:accent5>
      <a:accent6>
        <a:srgbClr val="00BEFF"/>
      </a:accent6>
      <a:hlink>
        <a:srgbClr val="0045FF"/>
      </a:hlink>
      <a:folHlink>
        <a:srgbClr val="C9236C"/>
      </a:folHlink>
    </a:clrScheme>
    <a:fontScheme name="Benutzerdefini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49FF"/>
        </a:solidFill>
        <a:ln w="9525">
          <a:solidFill>
            <a:schemeClr val="tx2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69875" indent="-269875" algn="l">
          <a:buFont typeface="Arial" panose="020B0604020202020204" pitchFamily="34" charset="0"/>
          <a:buChar char="•"/>
          <a:defRPr b="1" dirty="0" err="1" smtClean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270000" indent="-270000" algn="l">
          <a:buClr>
            <a:srgbClr val="0045FF"/>
          </a:buClr>
          <a:buFont typeface="Arial" panose="020B0604020202020204" pitchFamily="34" charset="0"/>
          <a:buChar char="•"/>
          <a:defRPr dirty="0" smtClean="0"/>
        </a:defPPr>
      </a:lstStyle>
    </a:txDef>
  </a:objectDefaults>
  <a:extraClrSchemeLst/>
  <a:custClrLst>
    <a:custClr name="HARTMANN Blue">
      <a:srgbClr val="0045FF"/>
    </a:custClr>
    <a:custClr name="HARTMANN Dark Blue">
      <a:srgbClr val="001689"/>
    </a:custClr>
    <a:custClr name="HARTMANN Light Blue">
      <a:srgbClr val="00BEFF"/>
    </a:custClr>
    <a:custClr name="HARTMANN Turquoise">
      <a:srgbClr val="00D8B4"/>
    </a:custClr>
    <a:custClr name="HARTMANN Green">
      <a:srgbClr val="84DA10"/>
    </a:custClr>
    <a:custClr name="HARTMANN Yellow">
      <a:srgbClr val="FEDE0F"/>
    </a:custClr>
    <a:custClr name="HARTMANN Orange">
      <a:srgbClr val="FF8E00"/>
    </a:custClr>
    <a:custClr name="HARTMANN Red">
      <a:srgbClr val="FF2954"/>
    </a:custClr>
    <a:custClr name="HARTMANN Purple">
      <a:srgbClr val="B21DAC"/>
    </a:custClr>
    <a:custClr name="HARTMANN Violet">
      <a:srgbClr val="7F00FF"/>
    </a:custClr>
    <a:custClr name="HARTMANN Grey 1">
      <a:srgbClr val="EDEDED"/>
    </a:custClr>
    <a:custClr name="HARTMANN Grey 2">
      <a:srgbClr val="DDDDDD"/>
    </a:custClr>
    <a:custClr name="HARTMANN Light Blue 25%">
      <a:srgbClr val="BFEFFF"/>
    </a:custClr>
    <a:custClr name="HARTMANN Turquoise 25%">
      <a:srgbClr val="BFF5EC"/>
    </a:custClr>
    <a:custClr name="HARTMANN Green 25%">
      <a:srgbClr val="E0F6C3"/>
    </a:custClr>
    <a:custClr name="HARTMANN Yellow 25%">
      <a:srgbClr val="FFF7C3"/>
    </a:custClr>
    <a:custClr name="HARTMANN Orange 25%">
      <a:srgbClr val="FFE3BF"/>
    </a:custClr>
    <a:custClr name="HARTMANN Red 25%">
      <a:srgbClr val="FFC9D4"/>
    </a:custClr>
    <a:custClr name="HARTMANN Purple 25%">
      <a:srgbClr val="FCC6EA"/>
    </a:custClr>
    <a:custClr name="HARTMANN Violet 25%">
      <a:srgbClr val="DFBFFF"/>
    </a:custClr>
    <a:custClr name="HARTMANN Grey 3">
      <a:srgbClr val="D6D6D6"/>
    </a:custClr>
    <a:custClr name="HARTMANN Grey 4">
      <a:srgbClr val="ADADAD"/>
    </a:custClr>
    <a:custClr name="HARTMANN Light Blue 50%">
      <a:srgbClr val="7FDEFF"/>
    </a:custClr>
    <a:custClr name="HARTMANN Turquoise 50%">
      <a:srgbClr val="7FEBD9"/>
    </a:custClr>
    <a:custClr name="HARTMANN Green 50%">
      <a:srgbClr val="C1EC87"/>
    </a:custClr>
    <a:custClr name="HARTMANN Yellow 50%">
      <a:srgbClr val="FFEE87"/>
    </a:custClr>
    <a:custClr name="HARTMANN Orange 50%">
      <a:srgbClr val="FFC67F"/>
    </a:custClr>
    <a:custClr name="HARTMANN Red 50%">
      <a:srgbClr val="FF94A9"/>
    </a:custClr>
    <a:custClr name="HARTMANN Purple 50%">
      <a:srgbClr val="D88ED5"/>
    </a:custClr>
    <a:custClr name="HARTMANN Violet 50%">
      <a:srgbClr val="BF7FFF"/>
    </a:custClr>
    <a:custClr name="HARTMANN Grey 5">
      <a:srgbClr val="848484"/>
    </a:custClr>
    <a:custClr name="HARTMANN Grey 6">
      <a:srgbClr val="242424"/>
    </a:custClr>
    <a:custClr name="HARTMANN Light Blue 75%">
      <a:srgbClr val="40CEFF"/>
    </a:custClr>
    <a:custClr name="HARTMANN Turquoise 75%">
      <a:srgbClr val="40E2C7"/>
    </a:custClr>
    <a:custClr name="HARTMANN Green 75%">
      <a:srgbClr val="A3E34C"/>
    </a:custClr>
    <a:custClr name="HARTMANN Yellow 75%">
      <a:srgbClr val="FFE64B"/>
    </a:custClr>
    <a:custClr name="HARTMANN Orange 75%">
      <a:srgbClr val="FFAA40"/>
    </a:custClr>
    <a:custClr name="HARTMANN Red 75%">
      <a:srgbClr val="FF5F7F"/>
    </a:custClr>
    <a:custClr name="HARTMANN Purple 75%">
      <a:srgbClr val="C556C1"/>
    </a:custClr>
    <a:custClr name="HARTMANN Violet 75%">
      <a:srgbClr val="9F40FF"/>
    </a:custClr>
  </a:custClrLst>
  <a:extLst>
    <a:ext uri="{05A4C25C-085E-4340-85A3-A5531E510DB2}">
      <thm15:themeFamily xmlns:thm15="http://schemas.microsoft.com/office/thememl/2012/main" name="Präsentation10" id="{EF43CC22-2CA9-A243-B552-C0926ED915E1}" vid="{C119C152-9618-D942-8972-146BE5C8591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541CF4C2E4914C8C15F84EC9A1A011" ma:contentTypeVersion="15" ma:contentTypeDescription="Create a new document." ma:contentTypeScope="" ma:versionID="5db06347135fbb14ed098dc70ae0db45">
  <xsd:schema xmlns:xsd="http://www.w3.org/2001/XMLSchema" xmlns:xs="http://www.w3.org/2001/XMLSchema" xmlns:p="http://schemas.microsoft.com/office/2006/metadata/properties" xmlns:ns1="http://schemas.microsoft.com/sharepoint/v3" xmlns:ns3="51fb5566-36ad-4352-9f11-1077e0536e7e" xmlns:ns4="e7795ed2-a750-41bc-a7d6-c4dacbd62b8d" targetNamespace="http://schemas.microsoft.com/office/2006/metadata/properties" ma:root="true" ma:fieldsID="a9c1e38a064950bc40ccb33e0a0527ae" ns1:_="" ns3:_="" ns4:_="">
    <xsd:import namespace="http://schemas.microsoft.com/sharepoint/v3"/>
    <xsd:import namespace="51fb5566-36ad-4352-9f11-1077e0536e7e"/>
    <xsd:import namespace="e7795ed2-a750-41bc-a7d6-c4dacbd62b8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1:_ip_UnifiedCompliancePolicyProperties" minOccurs="0"/>
                <xsd:element ref="ns1:_ip_UnifiedCompliancePolicyUIAction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fb5566-36ad-4352-9f11-1077e0536e7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795ed2-a750-41bc-a7d6-c4dacbd62b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696CCEA-B1C8-4DA8-A3FE-C4DCE9194DE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81B15B-7562-4C39-AB16-A210CE2C0E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fb5566-36ad-4352-9f11-1077e0536e7e"/>
    <ds:schemaRef ds:uri="e7795ed2-a750-41bc-a7d6-c4dacbd62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BB63687-59F2-489E-88D6-90DE0F616083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e7795ed2-a750-41bc-a7d6-c4dacbd62b8d"/>
    <ds:schemaRef ds:uri="http://purl.org/dc/dcmitype/"/>
    <ds:schemaRef ds:uri="51fb5566-36ad-4352-9f11-1077e0536e7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ARTMANN PowerPoint Master EN (1)</Template>
  <TotalTime>13006</TotalTime>
  <Words>1270</Words>
  <Application>Microsoft Macintosh PowerPoint</Application>
  <PresentationFormat>Širokoúhlá obrazovka</PresentationFormat>
  <Paragraphs>239</Paragraphs>
  <Slides>19</Slides>
  <Notes>19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9</vt:i4>
      </vt:variant>
    </vt:vector>
  </HeadingPairs>
  <TitlesOfParts>
    <vt:vector size="32" baseType="lpstr">
      <vt:lpstr>Arial</vt:lpstr>
      <vt:lpstr>Calibri</vt:lpstr>
      <vt:lpstr>Calibri Light</vt:lpstr>
      <vt:lpstr>Open Sans</vt:lpstr>
      <vt:lpstr>Poppins</vt:lpstr>
      <vt:lpstr>Tahoma</vt:lpstr>
      <vt:lpstr>Varela</vt:lpstr>
      <vt:lpstr>Wingdings</vt:lpstr>
      <vt:lpstr>Hartmann corporate_Confidential</vt:lpstr>
      <vt:lpstr>Motiv Office</vt:lpstr>
      <vt:lpstr>1_Hartmann corporate_Confidential</vt:lpstr>
      <vt:lpstr>2_Hartmann corporate_Confidential</vt:lpstr>
      <vt:lpstr>think-cell Slide</vt:lpstr>
      <vt:lpstr>Povinnosti poskytovatelů ZS dle MDR</vt:lpstr>
      <vt:lpstr>Dodání na trh   X    uvedení na trh   </vt:lpstr>
      <vt:lpstr>Prezentace aplikace PowerPoint</vt:lpstr>
      <vt:lpstr>Kategorie ZP dle uvedení na trh</vt:lpstr>
      <vt:lpstr>Prezentace aplikace PowerPoint</vt:lpstr>
      <vt:lpstr>UDI – povinnosti</vt:lpstr>
      <vt:lpstr>IVDR a přechodná období</vt:lpstr>
      <vt:lpstr>IVDR - ostatní</vt:lpstr>
      <vt:lpstr>Současný stav – v bodech</vt:lpstr>
      <vt:lpstr>Obal – příklad ZP IIa, výrobce mimo Unii</vt:lpstr>
      <vt:lpstr>EUDAMED – původní stav</vt:lpstr>
      <vt:lpstr>EUDAMED – aktuální stav</vt:lpstr>
      <vt:lpstr>Prezentace aplikace PowerPoint</vt:lpstr>
      <vt:lpstr>ISZP vs RZPRO</vt:lpstr>
      <vt:lpstr>ISZP - osoby</vt:lpstr>
      <vt:lpstr>Správná skladovací praxe</vt:lpstr>
      <vt:lpstr>Prezentace aplikace PowerPoint</vt:lpstr>
      <vt:lpstr>Prezentace aplikace PowerPoint</vt:lpstr>
      <vt:lpstr>Děkuji za pozornos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subject/>
  <dc:creator>Jelinkova Tamara</dc:creator>
  <cp:keywords/>
  <dc:description/>
  <cp:lastModifiedBy>Jiří Morávek</cp:lastModifiedBy>
  <cp:revision>168</cp:revision>
  <cp:lastPrinted>2019-05-27T13:42:38Z</cp:lastPrinted>
  <dcterms:created xsi:type="dcterms:W3CDTF">2021-03-22T19:29:28Z</dcterms:created>
  <dcterms:modified xsi:type="dcterms:W3CDTF">2024-10-01T06:35:1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541CF4C2E4914C8C15F84EC9A1A011</vt:lpwstr>
  </property>
  <property fmtid="{D5CDD505-2E9C-101B-9397-08002B2CF9AE}" pid="3" name="_dlc_DocIdItemGuid">
    <vt:lpwstr>6f7c283a-cede-4aa3-937d-699e40ee2483</vt:lpwstr>
  </property>
</Properties>
</file>